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658" r:id="rId3"/>
    <p:sldId id="654" r:id="rId4"/>
    <p:sldId id="659" r:id="rId5"/>
    <p:sldId id="631" r:id="rId6"/>
    <p:sldId id="677" r:id="rId7"/>
    <p:sldId id="660" r:id="rId8"/>
    <p:sldId id="666" r:id="rId9"/>
    <p:sldId id="661" r:id="rId10"/>
    <p:sldId id="662" r:id="rId11"/>
    <p:sldId id="664" r:id="rId12"/>
    <p:sldId id="669" r:id="rId13"/>
    <p:sldId id="667" r:id="rId14"/>
    <p:sldId id="665" r:id="rId15"/>
    <p:sldId id="668" r:id="rId16"/>
    <p:sldId id="644" r:id="rId17"/>
    <p:sldId id="671" r:id="rId18"/>
    <p:sldId id="653" r:id="rId19"/>
    <p:sldId id="674" r:id="rId20"/>
    <p:sldId id="673" r:id="rId21"/>
    <p:sldId id="675" r:id="rId22"/>
    <p:sldId id="676" r:id="rId23"/>
    <p:sldId id="639" r:id="rId24"/>
    <p:sldId id="267" r:id="rId25"/>
    <p:sldId id="633" r:id="rId26"/>
    <p:sldId id="476" r:id="rId27"/>
  </p:sldIdLst>
  <p:sldSz cx="9144000" cy="6858000" type="screen4x3"/>
  <p:notesSz cx="7010400" cy="92964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87F2ED-29FC-4172-8416-EB5170487C0A}" v="2776" dt="2024-01-24T15:32:08.343"/>
  </p1510:revLst>
</p1510:revInfo>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76" autoAdjust="0"/>
    <p:restoredTop sz="86391" autoAdjust="0"/>
  </p:normalViewPr>
  <p:slideViewPr>
    <p:cSldViewPr>
      <p:cViewPr varScale="1">
        <p:scale>
          <a:sx n="49" d="100"/>
          <a:sy n="49" d="100"/>
        </p:scale>
        <p:origin x="53" y="562"/>
      </p:cViewPr>
      <p:guideLst>
        <p:guide orient="horz" pos="2160"/>
        <p:guide pos="2880"/>
      </p:guideLst>
    </p:cSldViewPr>
  </p:slideViewPr>
  <p:outlineViewPr>
    <p:cViewPr>
      <p:scale>
        <a:sx n="33" d="100"/>
        <a:sy n="33" d="100"/>
      </p:scale>
      <p:origin x="0" y="-3758"/>
    </p:cViewPr>
  </p:outlineViewPr>
  <p:notesTextViewPr>
    <p:cViewPr>
      <p:scale>
        <a:sx n="1" d="1"/>
        <a:sy n="1" d="1"/>
      </p:scale>
      <p:origin x="0" y="0"/>
    </p:cViewPr>
  </p:notesTextViewPr>
  <p:notesViewPr>
    <p:cSldViewPr>
      <p:cViewPr varScale="1">
        <p:scale>
          <a:sx n="68" d="100"/>
          <a:sy n="68" d="100"/>
        </p:scale>
        <p:origin x="2808"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k Breul" userId="34de3da7-7b3c-4a46-8c9e-44d2fca28798" providerId="ADAL" clId="{C987F2ED-29FC-4172-8416-EB5170487C0A}"/>
    <pc:docChg chg="undo custSel addSld delSld modSld sldOrd">
      <pc:chgData name="Nick Breul" userId="34de3da7-7b3c-4a46-8c9e-44d2fca28798" providerId="ADAL" clId="{C987F2ED-29FC-4172-8416-EB5170487C0A}" dt="2024-01-24T20:08:17.389" v="5971" actId="20577"/>
      <pc:docMkLst>
        <pc:docMk/>
      </pc:docMkLst>
      <pc:sldChg chg="modSp mod">
        <pc:chgData name="Nick Breul" userId="34de3da7-7b3c-4a46-8c9e-44d2fca28798" providerId="ADAL" clId="{C987F2ED-29FC-4172-8416-EB5170487C0A}" dt="2024-01-02T16:52:38.643" v="49" actId="20577"/>
        <pc:sldMkLst>
          <pc:docMk/>
          <pc:sldMk cId="4171924905" sldId="256"/>
        </pc:sldMkLst>
        <pc:spChg chg="mod">
          <ac:chgData name="Nick Breul" userId="34de3da7-7b3c-4a46-8c9e-44d2fca28798" providerId="ADAL" clId="{C987F2ED-29FC-4172-8416-EB5170487C0A}" dt="2024-01-02T16:52:27.252" v="32" actId="20577"/>
          <ac:spMkLst>
            <pc:docMk/>
            <pc:sldMk cId="4171924905" sldId="256"/>
            <ac:spMk id="2" creationId="{00000000-0000-0000-0000-000000000000}"/>
          </ac:spMkLst>
        </pc:spChg>
        <pc:spChg chg="mod">
          <ac:chgData name="Nick Breul" userId="34de3da7-7b3c-4a46-8c9e-44d2fca28798" providerId="ADAL" clId="{C987F2ED-29FC-4172-8416-EB5170487C0A}" dt="2024-01-02T16:52:38.643" v="49" actId="20577"/>
          <ac:spMkLst>
            <pc:docMk/>
            <pc:sldMk cId="4171924905" sldId="256"/>
            <ac:spMk id="3" creationId="{00000000-0000-0000-0000-000000000000}"/>
          </ac:spMkLst>
        </pc:spChg>
      </pc:sldChg>
      <pc:sldChg chg="del">
        <pc:chgData name="Nick Breul" userId="34de3da7-7b3c-4a46-8c9e-44d2fca28798" providerId="ADAL" clId="{C987F2ED-29FC-4172-8416-EB5170487C0A}" dt="2024-01-03T18:28:13.958" v="1953" actId="47"/>
        <pc:sldMkLst>
          <pc:docMk/>
          <pc:sldMk cId="1940932769" sldId="257"/>
        </pc:sldMkLst>
      </pc:sldChg>
      <pc:sldChg chg="delSp mod modNotesTx">
        <pc:chgData name="Nick Breul" userId="34de3da7-7b3c-4a46-8c9e-44d2fca28798" providerId="ADAL" clId="{C987F2ED-29FC-4172-8416-EB5170487C0A}" dt="2024-01-17T14:47:31.803" v="5200" actId="20577"/>
        <pc:sldMkLst>
          <pc:docMk/>
          <pc:sldMk cId="3421365208" sldId="267"/>
        </pc:sldMkLst>
        <pc:spChg chg="del">
          <ac:chgData name="Nick Breul" userId="34de3da7-7b3c-4a46-8c9e-44d2fca28798" providerId="ADAL" clId="{C987F2ED-29FC-4172-8416-EB5170487C0A}" dt="2024-01-03T19:21:13.952" v="3301" actId="478"/>
          <ac:spMkLst>
            <pc:docMk/>
            <pc:sldMk cId="3421365208" sldId="267"/>
            <ac:spMk id="13" creationId="{A44753AF-7F1B-4636-B242-D589CE04A8D9}"/>
          </ac:spMkLst>
        </pc:spChg>
      </pc:sldChg>
      <pc:sldChg chg="del ord">
        <pc:chgData name="Nick Breul" userId="34de3da7-7b3c-4a46-8c9e-44d2fca28798" providerId="ADAL" clId="{C987F2ED-29FC-4172-8416-EB5170487C0A}" dt="2024-01-03T18:14:35.686" v="1824" actId="47"/>
        <pc:sldMkLst>
          <pc:docMk/>
          <pc:sldMk cId="1622676575" sldId="630"/>
        </pc:sldMkLst>
      </pc:sldChg>
      <pc:sldChg chg="modSp add del mod ord modNotesTx">
        <pc:chgData name="Nick Breul" userId="34de3da7-7b3c-4a46-8c9e-44d2fca28798" providerId="ADAL" clId="{C987F2ED-29FC-4172-8416-EB5170487C0A}" dt="2024-01-24T15:06:28.987" v="5456" actId="20577"/>
        <pc:sldMkLst>
          <pc:docMk/>
          <pc:sldMk cId="424661558" sldId="631"/>
        </pc:sldMkLst>
        <pc:graphicFrameChg chg="mod modGraphic">
          <ac:chgData name="Nick Breul" userId="34de3da7-7b3c-4a46-8c9e-44d2fca28798" providerId="ADAL" clId="{C987F2ED-29FC-4172-8416-EB5170487C0A}" dt="2024-01-24T15:06:28.987" v="5456" actId="20577"/>
          <ac:graphicFrameMkLst>
            <pc:docMk/>
            <pc:sldMk cId="424661558" sldId="631"/>
            <ac:graphicFrameMk id="8" creationId="{00000000-0000-0000-0000-000000000000}"/>
          </ac:graphicFrameMkLst>
        </pc:graphicFrameChg>
      </pc:sldChg>
      <pc:sldChg chg="addSp delSp modSp del mod">
        <pc:chgData name="Nick Breul" userId="34de3da7-7b3c-4a46-8c9e-44d2fca28798" providerId="ADAL" clId="{C987F2ED-29FC-4172-8416-EB5170487C0A}" dt="2024-01-02T16:57:25.734" v="121" actId="47"/>
        <pc:sldMkLst>
          <pc:docMk/>
          <pc:sldMk cId="1076238259" sldId="632"/>
        </pc:sldMkLst>
        <pc:spChg chg="add mod">
          <ac:chgData name="Nick Breul" userId="34de3da7-7b3c-4a46-8c9e-44d2fca28798" providerId="ADAL" clId="{C987F2ED-29FC-4172-8416-EB5170487C0A}" dt="2024-01-02T16:57:21.257" v="120" actId="478"/>
          <ac:spMkLst>
            <pc:docMk/>
            <pc:sldMk cId="1076238259" sldId="632"/>
            <ac:spMk id="4" creationId="{270BD654-4709-CF62-0314-7D187468D572}"/>
          </ac:spMkLst>
        </pc:spChg>
        <pc:picChg chg="del">
          <ac:chgData name="Nick Breul" userId="34de3da7-7b3c-4a46-8c9e-44d2fca28798" providerId="ADAL" clId="{C987F2ED-29FC-4172-8416-EB5170487C0A}" dt="2024-01-02T16:57:21.257" v="120" actId="478"/>
          <ac:picMkLst>
            <pc:docMk/>
            <pc:sldMk cId="1076238259" sldId="632"/>
            <ac:picMk id="8" creationId="{88677702-ED72-FD24-C7E7-065E0DA096E4}"/>
          </ac:picMkLst>
        </pc:picChg>
      </pc:sldChg>
      <pc:sldChg chg="del">
        <pc:chgData name="Nick Breul" userId="34de3da7-7b3c-4a46-8c9e-44d2fca28798" providerId="ADAL" clId="{C987F2ED-29FC-4172-8416-EB5170487C0A}" dt="2024-01-03T18:40:53.385" v="2129" actId="47"/>
        <pc:sldMkLst>
          <pc:docMk/>
          <pc:sldMk cId="673262107" sldId="635"/>
        </pc:sldMkLst>
      </pc:sldChg>
      <pc:sldChg chg="addSp delSp modSp mod">
        <pc:chgData name="Nick Breul" userId="34de3da7-7b3c-4a46-8c9e-44d2fca28798" providerId="ADAL" clId="{C987F2ED-29FC-4172-8416-EB5170487C0A}" dt="2024-01-03T19:20:27.389" v="3300" actId="14100"/>
        <pc:sldMkLst>
          <pc:docMk/>
          <pc:sldMk cId="2757204021" sldId="639"/>
        </pc:sldMkLst>
        <pc:spChg chg="add del mod">
          <ac:chgData name="Nick Breul" userId="34de3da7-7b3c-4a46-8c9e-44d2fca28798" providerId="ADAL" clId="{C987F2ED-29FC-4172-8416-EB5170487C0A}" dt="2024-01-03T19:19:50.983" v="3295" actId="931"/>
          <ac:spMkLst>
            <pc:docMk/>
            <pc:sldMk cId="2757204021" sldId="639"/>
            <ac:spMk id="6" creationId="{776D1A30-F4EF-31E7-D47D-C9AE574E4382}"/>
          </ac:spMkLst>
        </pc:spChg>
        <pc:graphicFrameChg chg="modGraphic">
          <ac:chgData name="Nick Breul" userId="34de3da7-7b3c-4a46-8c9e-44d2fca28798" providerId="ADAL" clId="{C987F2ED-29FC-4172-8416-EB5170487C0A}" dt="2024-01-03T19:20:06.747" v="3298" actId="26606"/>
          <ac:graphicFrameMkLst>
            <pc:docMk/>
            <pc:sldMk cId="2757204021" sldId="639"/>
            <ac:graphicFrameMk id="10" creationId="{6896259C-4A6E-490A-3241-0E67C461D6A0}"/>
          </ac:graphicFrameMkLst>
        </pc:graphicFrameChg>
        <pc:picChg chg="del">
          <ac:chgData name="Nick Breul" userId="34de3da7-7b3c-4a46-8c9e-44d2fca28798" providerId="ADAL" clId="{C987F2ED-29FC-4172-8416-EB5170487C0A}" dt="2024-01-03T19:19:08.419" v="3294" actId="478"/>
          <ac:picMkLst>
            <pc:docMk/>
            <pc:sldMk cId="2757204021" sldId="639"/>
            <ac:picMk id="8" creationId="{32B3FE1F-3E03-A74E-8C31-E19C7D3CAADA}"/>
          </ac:picMkLst>
        </pc:picChg>
        <pc:picChg chg="add mod">
          <ac:chgData name="Nick Breul" userId="34de3da7-7b3c-4a46-8c9e-44d2fca28798" providerId="ADAL" clId="{C987F2ED-29FC-4172-8416-EB5170487C0A}" dt="2024-01-03T19:20:27.389" v="3300" actId="14100"/>
          <ac:picMkLst>
            <pc:docMk/>
            <pc:sldMk cId="2757204021" sldId="639"/>
            <ac:picMk id="9" creationId="{E91173B6-30BA-CC16-EEB5-D21219AD4D6E}"/>
          </ac:picMkLst>
        </pc:picChg>
      </pc:sldChg>
      <pc:sldChg chg="addSp delSp modSp mod ord modNotesTx">
        <pc:chgData name="Nick Breul" userId="34de3da7-7b3c-4a46-8c9e-44d2fca28798" providerId="ADAL" clId="{C987F2ED-29FC-4172-8416-EB5170487C0A}" dt="2024-01-17T14:34:57.607" v="5007" actId="20577"/>
        <pc:sldMkLst>
          <pc:docMk/>
          <pc:sldMk cId="337504911" sldId="644"/>
        </pc:sldMkLst>
        <pc:spChg chg="mod">
          <ac:chgData name="Nick Breul" userId="34de3da7-7b3c-4a46-8c9e-44d2fca28798" providerId="ADAL" clId="{C987F2ED-29FC-4172-8416-EB5170487C0A}" dt="2024-01-03T18:26:23.099" v="1878" actId="26606"/>
          <ac:spMkLst>
            <pc:docMk/>
            <pc:sldMk cId="337504911" sldId="644"/>
            <ac:spMk id="2" creationId="{9CD68EB8-BD4F-B12D-00C3-780FEE6FC979}"/>
          </ac:spMkLst>
        </pc:spChg>
        <pc:spChg chg="mod">
          <ac:chgData name="Nick Breul" userId="34de3da7-7b3c-4a46-8c9e-44d2fca28798" providerId="ADAL" clId="{C987F2ED-29FC-4172-8416-EB5170487C0A}" dt="2024-01-03T18:27:44.008" v="1952" actId="20577"/>
          <ac:spMkLst>
            <pc:docMk/>
            <pc:sldMk cId="337504911" sldId="644"/>
            <ac:spMk id="9" creationId="{25EB30DE-0775-8F0D-D760-E922362F8F3F}"/>
          </ac:spMkLst>
        </pc:spChg>
        <pc:spChg chg="del">
          <ac:chgData name="Nick Breul" userId="34de3da7-7b3c-4a46-8c9e-44d2fca28798" providerId="ADAL" clId="{C987F2ED-29FC-4172-8416-EB5170487C0A}" dt="2024-01-03T18:26:23.099" v="1878" actId="26606"/>
          <ac:spMkLst>
            <pc:docMk/>
            <pc:sldMk cId="337504911" sldId="644"/>
            <ac:spMk id="12" creationId="{F13C74B1-5B17-4795-BED0-7140497B445A}"/>
          </ac:spMkLst>
        </pc:spChg>
        <pc:spChg chg="del">
          <ac:chgData name="Nick Breul" userId="34de3da7-7b3c-4a46-8c9e-44d2fca28798" providerId="ADAL" clId="{C987F2ED-29FC-4172-8416-EB5170487C0A}" dt="2024-01-03T18:26:23.099" v="1878" actId="26606"/>
          <ac:spMkLst>
            <pc:docMk/>
            <pc:sldMk cId="337504911" sldId="644"/>
            <ac:spMk id="14" creationId="{D4974D33-8DC5-464E-8C6D-BE58F0669C17}"/>
          </ac:spMkLst>
        </pc:spChg>
        <pc:spChg chg="add">
          <ac:chgData name="Nick Breul" userId="34de3da7-7b3c-4a46-8c9e-44d2fca28798" providerId="ADAL" clId="{C987F2ED-29FC-4172-8416-EB5170487C0A}" dt="2024-01-03T18:26:23.099" v="1878" actId="26606"/>
          <ac:spMkLst>
            <pc:docMk/>
            <pc:sldMk cId="337504911" sldId="644"/>
            <ac:spMk id="19" creationId="{F13C74B1-5B17-4795-BED0-7140497B445A}"/>
          </ac:spMkLst>
        </pc:spChg>
        <pc:spChg chg="add">
          <ac:chgData name="Nick Breul" userId="34de3da7-7b3c-4a46-8c9e-44d2fca28798" providerId="ADAL" clId="{C987F2ED-29FC-4172-8416-EB5170487C0A}" dt="2024-01-03T18:26:23.099" v="1878" actId="26606"/>
          <ac:spMkLst>
            <pc:docMk/>
            <pc:sldMk cId="337504911" sldId="644"/>
            <ac:spMk id="21" creationId="{D4974D33-8DC5-464E-8C6D-BE58F0669C17}"/>
          </ac:spMkLst>
        </pc:spChg>
        <pc:picChg chg="add mod">
          <ac:chgData name="Nick Breul" userId="34de3da7-7b3c-4a46-8c9e-44d2fca28798" providerId="ADAL" clId="{C987F2ED-29FC-4172-8416-EB5170487C0A}" dt="2024-01-03T18:26:23.099" v="1878" actId="26606"/>
          <ac:picMkLst>
            <pc:docMk/>
            <pc:sldMk cId="337504911" sldId="644"/>
            <ac:picMk id="4" creationId="{811AFE6C-7801-FBD0-C635-FBC4A1CD64F3}"/>
          </ac:picMkLst>
        </pc:picChg>
        <pc:picChg chg="del">
          <ac:chgData name="Nick Breul" userId="34de3da7-7b3c-4a46-8c9e-44d2fca28798" providerId="ADAL" clId="{C987F2ED-29FC-4172-8416-EB5170487C0A}" dt="2024-01-03T18:25:42.002" v="1874" actId="478"/>
          <ac:picMkLst>
            <pc:docMk/>
            <pc:sldMk cId="337504911" sldId="644"/>
            <ac:picMk id="5" creationId="{B73B7E99-51CC-4E22-FCBF-8D9000E22E94}"/>
          </ac:picMkLst>
        </pc:picChg>
      </pc:sldChg>
      <pc:sldChg chg="del">
        <pc:chgData name="Nick Breul" userId="34de3da7-7b3c-4a46-8c9e-44d2fca28798" providerId="ADAL" clId="{C987F2ED-29FC-4172-8416-EB5170487C0A}" dt="2024-01-02T16:59:47.266" v="173" actId="47"/>
        <pc:sldMkLst>
          <pc:docMk/>
          <pc:sldMk cId="3523727988" sldId="649"/>
        </pc:sldMkLst>
      </pc:sldChg>
      <pc:sldChg chg="del">
        <pc:chgData name="Nick Breul" userId="34de3da7-7b3c-4a46-8c9e-44d2fca28798" providerId="ADAL" clId="{C987F2ED-29FC-4172-8416-EB5170487C0A}" dt="2024-01-02T16:57:40.058" v="132" actId="47"/>
        <pc:sldMkLst>
          <pc:docMk/>
          <pc:sldMk cId="2212567307" sldId="651"/>
        </pc:sldMkLst>
      </pc:sldChg>
      <pc:sldChg chg="del">
        <pc:chgData name="Nick Breul" userId="34de3da7-7b3c-4a46-8c9e-44d2fca28798" providerId="ADAL" clId="{C987F2ED-29FC-4172-8416-EB5170487C0A}" dt="2024-01-03T18:41:02.514" v="2130" actId="47"/>
        <pc:sldMkLst>
          <pc:docMk/>
          <pc:sldMk cId="1835697282" sldId="652"/>
        </pc:sldMkLst>
      </pc:sldChg>
      <pc:sldChg chg="addSp delSp modSp mod ord">
        <pc:chgData name="Nick Breul" userId="34de3da7-7b3c-4a46-8c9e-44d2fca28798" providerId="ADAL" clId="{C987F2ED-29FC-4172-8416-EB5170487C0A}" dt="2024-01-03T18:50:49.600" v="2576" actId="20577"/>
        <pc:sldMkLst>
          <pc:docMk/>
          <pc:sldMk cId="836608167" sldId="653"/>
        </pc:sldMkLst>
        <pc:spChg chg="mod">
          <ac:chgData name="Nick Breul" userId="34de3da7-7b3c-4a46-8c9e-44d2fca28798" providerId="ADAL" clId="{C987F2ED-29FC-4172-8416-EB5170487C0A}" dt="2024-01-03T18:50:49.600" v="2576" actId="20577"/>
          <ac:spMkLst>
            <pc:docMk/>
            <pc:sldMk cId="836608167" sldId="653"/>
            <ac:spMk id="2" creationId="{F4519225-750A-7486-78E1-2E70FC3171E8}"/>
          </ac:spMkLst>
        </pc:spChg>
        <pc:spChg chg="add del">
          <ac:chgData name="Nick Breul" userId="34de3da7-7b3c-4a46-8c9e-44d2fca28798" providerId="ADAL" clId="{C987F2ED-29FC-4172-8416-EB5170487C0A}" dt="2024-01-03T18:36:39.378" v="2075" actId="26606"/>
          <ac:spMkLst>
            <pc:docMk/>
            <pc:sldMk cId="836608167" sldId="653"/>
            <ac:spMk id="13" creationId="{197C305C-0E98-44D5-A930-21F23CC52F93}"/>
          </ac:spMkLst>
        </pc:spChg>
        <pc:spChg chg="add del">
          <ac:chgData name="Nick Breul" userId="34de3da7-7b3c-4a46-8c9e-44d2fca28798" providerId="ADAL" clId="{C987F2ED-29FC-4172-8416-EB5170487C0A}" dt="2024-01-03T18:36:39.378" v="2075" actId="26606"/>
          <ac:spMkLst>
            <pc:docMk/>
            <pc:sldMk cId="836608167" sldId="653"/>
            <ac:spMk id="15" creationId="{A3473CF9-37EB-43E7-89EF-D2D1C53D1DAC}"/>
          </ac:spMkLst>
        </pc:spChg>
        <pc:spChg chg="add del">
          <ac:chgData name="Nick Breul" userId="34de3da7-7b3c-4a46-8c9e-44d2fca28798" providerId="ADAL" clId="{C987F2ED-29FC-4172-8416-EB5170487C0A}" dt="2024-01-03T18:36:39.378" v="2075" actId="26606"/>
          <ac:spMkLst>
            <pc:docMk/>
            <pc:sldMk cId="836608167" sldId="653"/>
            <ac:spMk id="17" creationId="{586B4EF9-43BA-4655-A6FF-1D8E21574C95}"/>
          </ac:spMkLst>
        </pc:spChg>
        <pc:spChg chg="add del">
          <ac:chgData name="Nick Breul" userId="34de3da7-7b3c-4a46-8c9e-44d2fca28798" providerId="ADAL" clId="{C987F2ED-29FC-4172-8416-EB5170487C0A}" dt="2024-01-03T18:36:39.362" v="2074" actId="26606"/>
          <ac:spMkLst>
            <pc:docMk/>
            <pc:sldMk cId="836608167" sldId="653"/>
            <ac:spMk id="21" creationId="{F8BAE834-7261-C005-EBB4-060D7594BC08}"/>
          </ac:spMkLst>
        </pc:spChg>
        <pc:spChg chg="add">
          <ac:chgData name="Nick Breul" userId="34de3da7-7b3c-4a46-8c9e-44d2fca28798" providerId="ADAL" clId="{C987F2ED-29FC-4172-8416-EB5170487C0A}" dt="2024-01-03T18:36:39.378" v="2075" actId="26606"/>
          <ac:spMkLst>
            <pc:docMk/>
            <pc:sldMk cId="836608167" sldId="653"/>
            <ac:spMk id="22" creationId="{B6DBFCBF-E869-4150-807D-0EA34DD58BEF}"/>
          </ac:spMkLst>
        </pc:spChg>
        <pc:spChg chg="add del">
          <ac:chgData name="Nick Breul" userId="34de3da7-7b3c-4a46-8c9e-44d2fca28798" providerId="ADAL" clId="{C987F2ED-29FC-4172-8416-EB5170487C0A}" dt="2024-01-03T18:36:39.362" v="2074" actId="26606"/>
          <ac:spMkLst>
            <pc:docMk/>
            <pc:sldMk cId="836608167" sldId="653"/>
            <ac:spMk id="24" creationId="{8B4CCFEE-78C3-492E-93EB-649F7548F38A}"/>
          </ac:spMkLst>
        </pc:spChg>
        <pc:grpChg chg="add">
          <ac:chgData name="Nick Breul" userId="34de3da7-7b3c-4a46-8c9e-44d2fca28798" providerId="ADAL" clId="{C987F2ED-29FC-4172-8416-EB5170487C0A}" dt="2024-01-03T18:36:39.378" v="2075" actId="26606"/>
          <ac:grpSpMkLst>
            <pc:docMk/>
            <pc:sldMk cId="836608167" sldId="653"/>
            <ac:grpSpMk id="27" creationId="{AC0B7807-0C83-4963-821A-69B172722E49}"/>
          </ac:grpSpMkLst>
        </pc:grpChg>
        <pc:picChg chg="add mod ord">
          <ac:chgData name="Nick Breul" userId="34de3da7-7b3c-4a46-8c9e-44d2fca28798" providerId="ADAL" clId="{C987F2ED-29FC-4172-8416-EB5170487C0A}" dt="2024-01-03T18:36:39.378" v="2075" actId="26606"/>
          <ac:picMkLst>
            <pc:docMk/>
            <pc:sldMk cId="836608167" sldId="653"/>
            <ac:picMk id="4" creationId="{7E4EB622-DAA3-2338-24BE-872D4AB45804}"/>
          </ac:picMkLst>
        </pc:picChg>
        <pc:picChg chg="mod ord">
          <ac:chgData name="Nick Breul" userId="34de3da7-7b3c-4a46-8c9e-44d2fca28798" providerId="ADAL" clId="{C987F2ED-29FC-4172-8416-EB5170487C0A}" dt="2024-01-03T18:36:39.378" v="2075" actId="26606"/>
          <ac:picMkLst>
            <pc:docMk/>
            <pc:sldMk cId="836608167" sldId="653"/>
            <ac:picMk id="6" creationId="{3BC7FDCD-21BE-E1DC-06CD-99945A62AFE5}"/>
          </ac:picMkLst>
        </pc:picChg>
        <pc:picChg chg="add mod">
          <ac:chgData name="Nick Breul" userId="34de3da7-7b3c-4a46-8c9e-44d2fca28798" providerId="ADAL" clId="{C987F2ED-29FC-4172-8416-EB5170487C0A}" dt="2024-01-03T18:36:39.378" v="2075" actId="26606"/>
          <ac:picMkLst>
            <pc:docMk/>
            <pc:sldMk cId="836608167" sldId="653"/>
            <ac:picMk id="7" creationId="{14F6FAF1-D5E0-EC09-AF2E-93267DB69A28}"/>
          </ac:picMkLst>
        </pc:picChg>
        <pc:picChg chg="mod ord">
          <ac:chgData name="Nick Breul" userId="34de3da7-7b3c-4a46-8c9e-44d2fca28798" providerId="ADAL" clId="{C987F2ED-29FC-4172-8416-EB5170487C0A}" dt="2024-01-03T18:36:39.378" v="2075" actId="26606"/>
          <ac:picMkLst>
            <pc:docMk/>
            <pc:sldMk cId="836608167" sldId="653"/>
            <ac:picMk id="8" creationId="{7244E532-0FD6-B23C-C94D-4BDD7B4D2B47}"/>
          </ac:picMkLst>
        </pc:picChg>
      </pc:sldChg>
      <pc:sldChg chg="addSp delSp modSp mod modNotesTx">
        <pc:chgData name="Nick Breul" userId="34de3da7-7b3c-4a46-8c9e-44d2fca28798" providerId="ADAL" clId="{C987F2ED-29FC-4172-8416-EB5170487C0A}" dt="2024-01-24T20:08:17.389" v="5971" actId="20577"/>
        <pc:sldMkLst>
          <pc:docMk/>
          <pc:sldMk cId="519444941" sldId="654"/>
        </pc:sldMkLst>
        <pc:spChg chg="mod">
          <ac:chgData name="Nick Breul" userId="34de3da7-7b3c-4a46-8c9e-44d2fca28798" providerId="ADAL" clId="{C987F2ED-29FC-4172-8416-EB5170487C0A}" dt="2024-01-12T14:00:35.549" v="3511" actId="26606"/>
          <ac:spMkLst>
            <pc:docMk/>
            <pc:sldMk cId="519444941" sldId="654"/>
            <ac:spMk id="2" creationId="{AF256ACA-13B9-BAF5-FA51-E0DECA864D60}"/>
          </ac:spMkLst>
        </pc:spChg>
        <pc:spChg chg="add del mod">
          <ac:chgData name="Nick Breul" userId="34de3da7-7b3c-4a46-8c9e-44d2fca28798" providerId="ADAL" clId="{C987F2ED-29FC-4172-8416-EB5170487C0A}" dt="2024-01-12T14:00:31.408" v="3508" actId="931"/>
          <ac:spMkLst>
            <pc:docMk/>
            <pc:sldMk cId="519444941" sldId="654"/>
            <ac:spMk id="4" creationId="{B8667C2D-B402-788F-F630-254E089D9425}"/>
          </ac:spMkLst>
        </pc:spChg>
        <pc:spChg chg="del">
          <ac:chgData name="Nick Breul" userId="34de3da7-7b3c-4a46-8c9e-44d2fca28798" providerId="ADAL" clId="{C987F2ED-29FC-4172-8416-EB5170487C0A}" dt="2024-01-12T14:00:35.549" v="3511" actId="26606"/>
          <ac:spMkLst>
            <pc:docMk/>
            <pc:sldMk cId="519444941" sldId="654"/>
            <ac:spMk id="10" creationId="{1707FC24-6981-43D9-B525-C7832BA22463}"/>
          </ac:spMkLst>
        </pc:spChg>
        <pc:spChg chg="add">
          <ac:chgData name="Nick Breul" userId="34de3da7-7b3c-4a46-8c9e-44d2fca28798" providerId="ADAL" clId="{C987F2ED-29FC-4172-8416-EB5170487C0A}" dt="2024-01-12T14:00:35.549" v="3511" actId="26606"/>
          <ac:spMkLst>
            <pc:docMk/>
            <pc:sldMk cId="519444941" sldId="654"/>
            <ac:spMk id="15" creationId="{A4E37431-20F0-4DD6-84A9-ED2B644943A2}"/>
          </ac:spMkLst>
        </pc:spChg>
        <pc:spChg chg="add">
          <ac:chgData name="Nick Breul" userId="34de3da7-7b3c-4a46-8c9e-44d2fca28798" providerId="ADAL" clId="{C987F2ED-29FC-4172-8416-EB5170487C0A}" dt="2024-01-12T14:00:35.549" v="3511" actId="26606"/>
          <ac:spMkLst>
            <pc:docMk/>
            <pc:sldMk cId="519444941" sldId="654"/>
            <ac:spMk id="17" creationId="{0AE98B72-66C6-4AB4-AF0D-BA830DE86393}"/>
          </ac:spMkLst>
        </pc:spChg>
        <pc:spChg chg="add">
          <ac:chgData name="Nick Breul" userId="34de3da7-7b3c-4a46-8c9e-44d2fca28798" providerId="ADAL" clId="{C987F2ED-29FC-4172-8416-EB5170487C0A}" dt="2024-01-12T14:00:35.549" v="3511" actId="26606"/>
          <ac:spMkLst>
            <pc:docMk/>
            <pc:sldMk cId="519444941" sldId="654"/>
            <ac:spMk id="19" creationId="{407EAFC6-733F-403D-BB4D-05A3A28742F1}"/>
          </ac:spMkLst>
        </pc:spChg>
        <pc:spChg chg="add">
          <ac:chgData name="Nick Breul" userId="34de3da7-7b3c-4a46-8c9e-44d2fca28798" providerId="ADAL" clId="{C987F2ED-29FC-4172-8416-EB5170487C0A}" dt="2024-01-12T14:00:35.549" v="3511" actId="26606"/>
          <ac:spMkLst>
            <pc:docMk/>
            <pc:sldMk cId="519444941" sldId="654"/>
            <ac:spMk id="21" creationId="{17A36730-4CB0-4F61-AD11-A44C9765833F}"/>
          </ac:spMkLst>
        </pc:spChg>
        <pc:spChg chg="add">
          <ac:chgData name="Nick Breul" userId="34de3da7-7b3c-4a46-8c9e-44d2fca28798" providerId="ADAL" clId="{C987F2ED-29FC-4172-8416-EB5170487C0A}" dt="2024-01-12T14:00:35.549" v="3511" actId="26606"/>
          <ac:spMkLst>
            <pc:docMk/>
            <pc:sldMk cId="519444941" sldId="654"/>
            <ac:spMk id="23" creationId="{C69C79E1-F916-4929-A4F3-DE763D4BFA57}"/>
          </ac:spMkLst>
        </pc:spChg>
        <pc:spChg chg="add">
          <ac:chgData name="Nick Breul" userId="34de3da7-7b3c-4a46-8c9e-44d2fca28798" providerId="ADAL" clId="{C987F2ED-29FC-4172-8416-EB5170487C0A}" dt="2024-01-12T14:00:35.549" v="3511" actId="26606"/>
          <ac:spMkLst>
            <pc:docMk/>
            <pc:sldMk cId="519444941" sldId="654"/>
            <ac:spMk id="25" creationId="{767334AB-16BD-4EC7-8C6B-4B5171600933}"/>
          </ac:spMkLst>
        </pc:spChg>
        <pc:picChg chg="add mod">
          <ac:chgData name="Nick Breul" userId="34de3da7-7b3c-4a46-8c9e-44d2fca28798" providerId="ADAL" clId="{C987F2ED-29FC-4172-8416-EB5170487C0A}" dt="2024-01-12T14:00:35.549" v="3511" actId="26606"/>
          <ac:picMkLst>
            <pc:docMk/>
            <pc:sldMk cId="519444941" sldId="654"/>
            <ac:picMk id="5" creationId="{24DEAB3C-0FB2-BFB0-6BD1-B0481F6CF276}"/>
          </ac:picMkLst>
        </pc:picChg>
        <pc:picChg chg="del">
          <ac:chgData name="Nick Breul" userId="34de3da7-7b3c-4a46-8c9e-44d2fca28798" providerId="ADAL" clId="{C987F2ED-29FC-4172-8416-EB5170487C0A}" dt="2024-01-12T13:47:56.962" v="3507" actId="478"/>
          <ac:picMkLst>
            <pc:docMk/>
            <pc:sldMk cId="519444941" sldId="654"/>
            <ac:picMk id="5" creationId="{F8ACF6D7-32AD-113C-3AE2-59D03EC205D8}"/>
          </ac:picMkLst>
        </pc:picChg>
      </pc:sldChg>
      <pc:sldChg chg="del">
        <pc:chgData name="Nick Breul" userId="34de3da7-7b3c-4a46-8c9e-44d2fca28798" providerId="ADAL" clId="{C987F2ED-29FC-4172-8416-EB5170487C0A}" dt="2024-01-02T16:59:46.807" v="172" actId="47"/>
        <pc:sldMkLst>
          <pc:docMk/>
          <pc:sldMk cId="2822368071" sldId="656"/>
        </pc:sldMkLst>
      </pc:sldChg>
      <pc:sldChg chg="del">
        <pc:chgData name="Nick Breul" userId="34de3da7-7b3c-4a46-8c9e-44d2fca28798" providerId="ADAL" clId="{C987F2ED-29FC-4172-8416-EB5170487C0A}" dt="2024-01-02T16:57:38.819" v="131" actId="47"/>
        <pc:sldMkLst>
          <pc:docMk/>
          <pc:sldMk cId="3297924737" sldId="657"/>
        </pc:sldMkLst>
      </pc:sldChg>
      <pc:sldChg chg="addSp delSp modSp new mod ord setBg modNotesTx">
        <pc:chgData name="Nick Breul" userId="34de3da7-7b3c-4a46-8c9e-44d2fca28798" providerId="ADAL" clId="{C987F2ED-29FC-4172-8416-EB5170487C0A}" dt="2024-01-17T14:19:17.988" v="4102" actId="20577"/>
        <pc:sldMkLst>
          <pc:docMk/>
          <pc:sldMk cId="4103852735" sldId="658"/>
        </pc:sldMkLst>
        <pc:spChg chg="mod ord">
          <ac:chgData name="Nick Breul" userId="34de3da7-7b3c-4a46-8c9e-44d2fca28798" providerId="ADAL" clId="{C987F2ED-29FC-4172-8416-EB5170487C0A}" dt="2024-01-02T16:56:52.278" v="117" actId="26606"/>
          <ac:spMkLst>
            <pc:docMk/>
            <pc:sldMk cId="4103852735" sldId="658"/>
            <ac:spMk id="2" creationId="{ACB78294-2BDB-4477-E390-A7AE5E5F48CB}"/>
          </ac:spMkLst>
        </pc:spChg>
        <pc:spChg chg="del">
          <ac:chgData name="Nick Breul" userId="34de3da7-7b3c-4a46-8c9e-44d2fca28798" providerId="ADAL" clId="{C987F2ED-29FC-4172-8416-EB5170487C0A}" dt="2024-01-02T16:54:24.576" v="71" actId="931"/>
          <ac:spMkLst>
            <pc:docMk/>
            <pc:sldMk cId="4103852735" sldId="658"/>
            <ac:spMk id="3" creationId="{FDAAC573-D047-F242-9BE8-3B4D4AEAE186}"/>
          </ac:spMkLst>
        </pc:spChg>
        <pc:spChg chg="add">
          <ac:chgData name="Nick Breul" userId="34de3da7-7b3c-4a46-8c9e-44d2fca28798" providerId="ADAL" clId="{C987F2ED-29FC-4172-8416-EB5170487C0A}" dt="2024-01-02T16:56:52.278" v="117" actId="26606"/>
          <ac:spMkLst>
            <pc:docMk/>
            <pc:sldMk cId="4103852735" sldId="658"/>
            <ac:spMk id="16" creationId="{D4771268-CB57-404A-9271-370EB28F6090}"/>
          </ac:spMkLst>
        </pc:spChg>
        <pc:picChg chg="add mod">
          <ac:chgData name="Nick Breul" userId="34de3da7-7b3c-4a46-8c9e-44d2fca28798" providerId="ADAL" clId="{C987F2ED-29FC-4172-8416-EB5170487C0A}" dt="2024-01-02T16:56:52.278" v="117" actId="26606"/>
          <ac:picMkLst>
            <pc:docMk/>
            <pc:sldMk cId="4103852735" sldId="658"/>
            <ac:picMk id="5" creationId="{1C2724FE-4199-A280-7688-0134A7A1DF39}"/>
          </ac:picMkLst>
        </pc:picChg>
        <pc:picChg chg="add mod">
          <ac:chgData name="Nick Breul" userId="34de3da7-7b3c-4a46-8c9e-44d2fca28798" providerId="ADAL" clId="{C987F2ED-29FC-4172-8416-EB5170487C0A}" dt="2024-01-02T16:56:52.278" v="117" actId="26606"/>
          <ac:picMkLst>
            <pc:docMk/>
            <pc:sldMk cId="4103852735" sldId="658"/>
            <ac:picMk id="7" creationId="{48FB272D-C93E-BB9C-99C0-95802800A313}"/>
          </ac:picMkLst>
        </pc:picChg>
        <pc:picChg chg="add mod">
          <ac:chgData name="Nick Breul" userId="34de3da7-7b3c-4a46-8c9e-44d2fca28798" providerId="ADAL" clId="{C987F2ED-29FC-4172-8416-EB5170487C0A}" dt="2024-01-02T16:56:52.278" v="117" actId="26606"/>
          <ac:picMkLst>
            <pc:docMk/>
            <pc:sldMk cId="4103852735" sldId="658"/>
            <ac:picMk id="9" creationId="{67F24437-1D2F-C908-BF04-6C7CED02F71C}"/>
          </ac:picMkLst>
        </pc:picChg>
        <pc:picChg chg="add mod ord">
          <ac:chgData name="Nick Breul" userId="34de3da7-7b3c-4a46-8c9e-44d2fca28798" providerId="ADAL" clId="{C987F2ED-29FC-4172-8416-EB5170487C0A}" dt="2024-01-02T16:56:52.278" v="117" actId="26606"/>
          <ac:picMkLst>
            <pc:docMk/>
            <pc:sldMk cId="4103852735" sldId="658"/>
            <ac:picMk id="11" creationId="{0B0F1198-E721-129E-38D3-452EECBE97D2}"/>
          </ac:picMkLst>
        </pc:picChg>
      </pc:sldChg>
      <pc:sldChg chg="addSp delSp modSp new mod setBg">
        <pc:chgData name="Nick Breul" userId="34de3da7-7b3c-4a46-8c9e-44d2fca28798" providerId="ADAL" clId="{C987F2ED-29FC-4172-8416-EB5170487C0A}" dt="2024-01-02T16:59:02.345" v="171" actId="26606"/>
        <pc:sldMkLst>
          <pc:docMk/>
          <pc:sldMk cId="1060149295" sldId="659"/>
        </pc:sldMkLst>
        <pc:spChg chg="mod">
          <ac:chgData name="Nick Breul" userId="34de3da7-7b3c-4a46-8c9e-44d2fca28798" providerId="ADAL" clId="{C987F2ED-29FC-4172-8416-EB5170487C0A}" dt="2024-01-02T16:59:02.345" v="171" actId="26606"/>
          <ac:spMkLst>
            <pc:docMk/>
            <pc:sldMk cId="1060149295" sldId="659"/>
            <ac:spMk id="2" creationId="{15313250-C28D-9546-6086-CC082CE31C71}"/>
          </ac:spMkLst>
        </pc:spChg>
        <pc:spChg chg="del">
          <ac:chgData name="Nick Breul" userId="34de3da7-7b3c-4a46-8c9e-44d2fca28798" providerId="ADAL" clId="{C987F2ED-29FC-4172-8416-EB5170487C0A}" dt="2024-01-02T16:58:57.546" v="168" actId="931"/>
          <ac:spMkLst>
            <pc:docMk/>
            <pc:sldMk cId="1060149295" sldId="659"/>
            <ac:spMk id="3" creationId="{4639657E-3CD6-29BA-D060-520719A57F6D}"/>
          </ac:spMkLst>
        </pc:spChg>
        <pc:spChg chg="add">
          <ac:chgData name="Nick Breul" userId="34de3da7-7b3c-4a46-8c9e-44d2fca28798" providerId="ADAL" clId="{C987F2ED-29FC-4172-8416-EB5170487C0A}" dt="2024-01-02T16:59:02.345" v="171" actId="26606"/>
          <ac:spMkLst>
            <pc:docMk/>
            <pc:sldMk cId="1060149295" sldId="659"/>
            <ac:spMk id="10" creationId="{A8384FB5-9ADC-4DDC-881B-597D56F5B15D}"/>
          </ac:spMkLst>
        </pc:spChg>
        <pc:spChg chg="add">
          <ac:chgData name="Nick Breul" userId="34de3da7-7b3c-4a46-8c9e-44d2fca28798" providerId="ADAL" clId="{C987F2ED-29FC-4172-8416-EB5170487C0A}" dt="2024-01-02T16:59:02.345" v="171" actId="26606"/>
          <ac:spMkLst>
            <pc:docMk/>
            <pc:sldMk cId="1060149295" sldId="659"/>
            <ac:spMk id="12" creationId="{91E5A9A7-95C6-4F4F-B00E-C82E07FE62EF}"/>
          </ac:spMkLst>
        </pc:spChg>
        <pc:spChg chg="add">
          <ac:chgData name="Nick Breul" userId="34de3da7-7b3c-4a46-8c9e-44d2fca28798" providerId="ADAL" clId="{C987F2ED-29FC-4172-8416-EB5170487C0A}" dt="2024-01-02T16:59:02.345" v="171" actId="26606"/>
          <ac:spMkLst>
            <pc:docMk/>
            <pc:sldMk cId="1060149295" sldId="659"/>
            <ac:spMk id="14" creationId="{D07DD2DE-F619-49DD-B5E7-03A290FF4ED1}"/>
          </ac:spMkLst>
        </pc:spChg>
        <pc:spChg chg="add">
          <ac:chgData name="Nick Breul" userId="34de3da7-7b3c-4a46-8c9e-44d2fca28798" providerId="ADAL" clId="{C987F2ED-29FC-4172-8416-EB5170487C0A}" dt="2024-01-02T16:59:02.345" v="171" actId="26606"/>
          <ac:spMkLst>
            <pc:docMk/>
            <pc:sldMk cId="1060149295" sldId="659"/>
            <ac:spMk id="16" creationId="{85149191-5F60-4A28-AAFF-039F96B0F3EC}"/>
          </ac:spMkLst>
        </pc:spChg>
        <pc:spChg chg="add">
          <ac:chgData name="Nick Breul" userId="34de3da7-7b3c-4a46-8c9e-44d2fca28798" providerId="ADAL" clId="{C987F2ED-29FC-4172-8416-EB5170487C0A}" dt="2024-01-02T16:59:02.345" v="171" actId="26606"/>
          <ac:spMkLst>
            <pc:docMk/>
            <pc:sldMk cId="1060149295" sldId="659"/>
            <ac:spMk id="18" creationId="{F8260ED5-17F7-4158-B241-D51DD4CF1B7E}"/>
          </ac:spMkLst>
        </pc:spChg>
        <pc:picChg chg="add mod">
          <ac:chgData name="Nick Breul" userId="34de3da7-7b3c-4a46-8c9e-44d2fca28798" providerId="ADAL" clId="{C987F2ED-29FC-4172-8416-EB5170487C0A}" dt="2024-01-02T16:59:02.345" v="171" actId="26606"/>
          <ac:picMkLst>
            <pc:docMk/>
            <pc:sldMk cId="1060149295" sldId="659"/>
            <ac:picMk id="5" creationId="{AA405FC7-B717-B35D-D1B8-94D25A930D64}"/>
          </ac:picMkLst>
        </pc:picChg>
      </pc:sldChg>
      <pc:sldChg chg="addSp delSp modSp new del mod ord">
        <pc:chgData name="Nick Breul" userId="34de3da7-7b3c-4a46-8c9e-44d2fca28798" providerId="ADAL" clId="{C987F2ED-29FC-4172-8416-EB5170487C0A}" dt="2024-01-03T16:01:24.229" v="326" actId="47"/>
        <pc:sldMkLst>
          <pc:docMk/>
          <pc:sldMk cId="555439206" sldId="660"/>
        </pc:sldMkLst>
        <pc:spChg chg="mod">
          <ac:chgData name="Nick Breul" userId="34de3da7-7b3c-4a46-8c9e-44d2fca28798" providerId="ADAL" clId="{C987F2ED-29FC-4172-8416-EB5170487C0A}" dt="2024-01-03T15:56:24.238" v="315" actId="20577"/>
          <ac:spMkLst>
            <pc:docMk/>
            <pc:sldMk cId="555439206" sldId="660"/>
            <ac:spMk id="2" creationId="{64FCCBF7-04B2-5E9D-12BA-9BD9D9F0930E}"/>
          </ac:spMkLst>
        </pc:spChg>
        <pc:spChg chg="mod">
          <ac:chgData name="Nick Breul" userId="34de3da7-7b3c-4a46-8c9e-44d2fca28798" providerId="ADAL" clId="{C987F2ED-29FC-4172-8416-EB5170487C0A}" dt="2024-01-03T15:57:08.583" v="322" actId="20577"/>
          <ac:spMkLst>
            <pc:docMk/>
            <pc:sldMk cId="555439206" sldId="660"/>
            <ac:spMk id="3" creationId="{1E2BC60C-99D9-4121-7A0B-411D25F8EBD3}"/>
          </ac:spMkLst>
        </pc:spChg>
        <pc:spChg chg="del">
          <ac:chgData name="Nick Breul" userId="34de3da7-7b3c-4a46-8c9e-44d2fca28798" providerId="ADAL" clId="{C987F2ED-29FC-4172-8416-EB5170487C0A}" dt="2024-01-03T15:56:56.807" v="316" actId="931"/>
          <ac:spMkLst>
            <pc:docMk/>
            <pc:sldMk cId="555439206" sldId="660"/>
            <ac:spMk id="4" creationId="{38604254-DB22-CC35-8569-57E1ACFB4F29}"/>
          </ac:spMkLst>
        </pc:spChg>
        <pc:picChg chg="add mod">
          <ac:chgData name="Nick Breul" userId="34de3da7-7b3c-4a46-8c9e-44d2fca28798" providerId="ADAL" clId="{C987F2ED-29FC-4172-8416-EB5170487C0A}" dt="2024-01-03T15:56:59.612" v="318" actId="962"/>
          <ac:picMkLst>
            <pc:docMk/>
            <pc:sldMk cId="555439206" sldId="660"/>
            <ac:picMk id="6" creationId="{A16023FC-057F-9BDF-6A6C-320F5B4F69E4}"/>
          </ac:picMkLst>
        </pc:picChg>
      </pc:sldChg>
      <pc:sldChg chg="addSp delSp modSp new mod setBg modNotesTx">
        <pc:chgData name="Nick Breul" userId="34de3da7-7b3c-4a46-8c9e-44d2fca28798" providerId="ADAL" clId="{C987F2ED-29FC-4172-8416-EB5170487C0A}" dt="2024-01-24T15:32:08.343" v="5474" actId="20577"/>
        <pc:sldMkLst>
          <pc:docMk/>
          <pc:sldMk cId="3543243193" sldId="660"/>
        </pc:sldMkLst>
        <pc:spChg chg="mod">
          <ac:chgData name="Nick Breul" userId="34de3da7-7b3c-4a46-8c9e-44d2fca28798" providerId="ADAL" clId="{C987F2ED-29FC-4172-8416-EB5170487C0A}" dt="2024-01-03T16:28:11.393" v="587" actId="26606"/>
          <ac:spMkLst>
            <pc:docMk/>
            <pc:sldMk cId="3543243193" sldId="660"/>
            <ac:spMk id="2" creationId="{E796501F-B3D7-23C8-26A0-B4F0E5794E36}"/>
          </ac:spMkLst>
        </pc:spChg>
        <pc:spChg chg="del mod">
          <ac:chgData name="Nick Breul" userId="34de3da7-7b3c-4a46-8c9e-44d2fca28798" providerId="ADAL" clId="{C987F2ED-29FC-4172-8416-EB5170487C0A}" dt="2024-01-03T16:28:11.393" v="587" actId="26606"/>
          <ac:spMkLst>
            <pc:docMk/>
            <pc:sldMk cId="3543243193" sldId="660"/>
            <ac:spMk id="3" creationId="{409FF06B-BC17-CBF0-8FB2-49B6B6ABD3D7}"/>
          </ac:spMkLst>
        </pc:spChg>
        <pc:spChg chg="add">
          <ac:chgData name="Nick Breul" userId="34de3da7-7b3c-4a46-8c9e-44d2fca28798" providerId="ADAL" clId="{C987F2ED-29FC-4172-8416-EB5170487C0A}" dt="2024-01-03T16:28:11.393" v="587" actId="26606"/>
          <ac:spMkLst>
            <pc:docMk/>
            <pc:sldMk cId="3543243193" sldId="660"/>
            <ac:spMk id="9" creationId="{BACC6370-2D7E-4714-9D71-7542949D7D5D}"/>
          </ac:spMkLst>
        </pc:spChg>
        <pc:spChg chg="add">
          <ac:chgData name="Nick Breul" userId="34de3da7-7b3c-4a46-8c9e-44d2fca28798" providerId="ADAL" clId="{C987F2ED-29FC-4172-8416-EB5170487C0A}" dt="2024-01-03T16:28:11.393" v="587" actId="26606"/>
          <ac:spMkLst>
            <pc:docMk/>
            <pc:sldMk cId="3543243193" sldId="660"/>
            <ac:spMk id="11" creationId="{F68B3F68-107C-434F-AA38-110D5EA91B85}"/>
          </ac:spMkLst>
        </pc:spChg>
        <pc:spChg chg="add">
          <ac:chgData name="Nick Breul" userId="34de3da7-7b3c-4a46-8c9e-44d2fca28798" providerId="ADAL" clId="{C987F2ED-29FC-4172-8416-EB5170487C0A}" dt="2024-01-03T16:28:11.393" v="587" actId="26606"/>
          <ac:spMkLst>
            <pc:docMk/>
            <pc:sldMk cId="3543243193" sldId="660"/>
            <ac:spMk id="13" creationId="{AAD0DBB9-1A4B-4391-81D4-CB19F9AB918A}"/>
          </ac:spMkLst>
        </pc:spChg>
        <pc:spChg chg="add">
          <ac:chgData name="Nick Breul" userId="34de3da7-7b3c-4a46-8c9e-44d2fca28798" providerId="ADAL" clId="{C987F2ED-29FC-4172-8416-EB5170487C0A}" dt="2024-01-03T16:28:11.393" v="587" actId="26606"/>
          <ac:spMkLst>
            <pc:docMk/>
            <pc:sldMk cId="3543243193" sldId="660"/>
            <ac:spMk id="15" creationId="{063BBA22-50EA-4C4D-BE05-F1CE4E63AA56}"/>
          </ac:spMkLst>
        </pc:spChg>
        <pc:graphicFrameChg chg="add mod">
          <ac:chgData name="Nick Breul" userId="34de3da7-7b3c-4a46-8c9e-44d2fca28798" providerId="ADAL" clId="{C987F2ED-29FC-4172-8416-EB5170487C0A}" dt="2024-01-24T15:32:08.343" v="5474" actId="20577"/>
          <ac:graphicFrameMkLst>
            <pc:docMk/>
            <pc:sldMk cId="3543243193" sldId="660"/>
            <ac:graphicFrameMk id="5" creationId="{B6CB7648-461C-2A9C-0125-09AAEBAB3032}"/>
          </ac:graphicFrameMkLst>
        </pc:graphicFrameChg>
      </pc:sldChg>
      <pc:sldChg chg="new del">
        <pc:chgData name="Nick Breul" userId="34de3da7-7b3c-4a46-8c9e-44d2fca28798" providerId="ADAL" clId="{C987F2ED-29FC-4172-8416-EB5170487C0A}" dt="2024-01-03T16:01:29.486" v="327" actId="47"/>
        <pc:sldMkLst>
          <pc:docMk/>
          <pc:sldMk cId="2697987071" sldId="661"/>
        </pc:sldMkLst>
      </pc:sldChg>
      <pc:sldChg chg="addSp delSp modSp new mod setBg modNotesTx">
        <pc:chgData name="Nick Breul" userId="34de3da7-7b3c-4a46-8c9e-44d2fca28798" providerId="ADAL" clId="{C987F2ED-29FC-4172-8416-EB5170487C0A}" dt="2024-01-17T14:28:15.100" v="4396" actId="20577"/>
        <pc:sldMkLst>
          <pc:docMk/>
          <pc:sldMk cId="4230208757" sldId="661"/>
        </pc:sldMkLst>
        <pc:spChg chg="mod">
          <ac:chgData name="Nick Breul" userId="34de3da7-7b3c-4a46-8c9e-44d2fca28798" providerId="ADAL" clId="{C987F2ED-29FC-4172-8416-EB5170487C0A}" dt="2024-01-03T16:36:59.055" v="765" actId="26606"/>
          <ac:spMkLst>
            <pc:docMk/>
            <pc:sldMk cId="4230208757" sldId="661"/>
            <ac:spMk id="2" creationId="{9E2A9E8A-77A0-9841-62AA-BB2AF03DBC05}"/>
          </ac:spMkLst>
        </pc:spChg>
        <pc:spChg chg="add del mod">
          <ac:chgData name="Nick Breul" userId="34de3da7-7b3c-4a46-8c9e-44d2fca28798" providerId="ADAL" clId="{C987F2ED-29FC-4172-8416-EB5170487C0A}" dt="2024-01-03T16:38:23.981" v="776" actId="14100"/>
          <ac:spMkLst>
            <pc:docMk/>
            <pc:sldMk cId="4230208757" sldId="661"/>
            <ac:spMk id="3" creationId="{6A4DFDEE-1F97-9A02-94F4-52528E4CDD64}"/>
          </ac:spMkLst>
        </pc:spChg>
        <pc:spChg chg="del">
          <ac:chgData name="Nick Breul" userId="34de3da7-7b3c-4a46-8c9e-44d2fca28798" providerId="ADAL" clId="{C987F2ED-29FC-4172-8416-EB5170487C0A}" dt="2024-01-03T16:30:42.007" v="619" actId="931"/>
          <ac:spMkLst>
            <pc:docMk/>
            <pc:sldMk cId="4230208757" sldId="661"/>
            <ac:spMk id="4" creationId="{0086B6E5-28A7-6F88-0996-24F11DA0E0D9}"/>
          </ac:spMkLst>
        </pc:spChg>
        <pc:spChg chg="add">
          <ac:chgData name="Nick Breul" userId="34de3da7-7b3c-4a46-8c9e-44d2fca28798" providerId="ADAL" clId="{C987F2ED-29FC-4172-8416-EB5170487C0A}" dt="2024-01-03T16:36:59.055" v="765" actId="26606"/>
          <ac:spMkLst>
            <pc:docMk/>
            <pc:sldMk cId="4230208757" sldId="661"/>
            <ac:spMk id="13" creationId="{F13C74B1-5B17-4795-BED0-7140497B445A}"/>
          </ac:spMkLst>
        </pc:spChg>
        <pc:spChg chg="add">
          <ac:chgData name="Nick Breul" userId="34de3da7-7b3c-4a46-8c9e-44d2fca28798" providerId="ADAL" clId="{C987F2ED-29FC-4172-8416-EB5170487C0A}" dt="2024-01-03T16:36:59.055" v="765" actId="26606"/>
          <ac:spMkLst>
            <pc:docMk/>
            <pc:sldMk cId="4230208757" sldId="661"/>
            <ac:spMk id="15" creationId="{D4974D33-8DC5-464E-8C6D-BE58F0669C17}"/>
          </ac:spMkLst>
        </pc:spChg>
        <pc:picChg chg="add del mod">
          <ac:chgData name="Nick Breul" userId="34de3da7-7b3c-4a46-8c9e-44d2fca28798" providerId="ADAL" clId="{C987F2ED-29FC-4172-8416-EB5170487C0A}" dt="2024-01-03T16:30:31.583" v="618" actId="931"/>
          <ac:picMkLst>
            <pc:docMk/>
            <pc:sldMk cId="4230208757" sldId="661"/>
            <ac:picMk id="6" creationId="{B6CC1022-C69F-3DCF-1FF6-27091BA69C25}"/>
          </ac:picMkLst>
        </pc:picChg>
        <pc:picChg chg="add mod">
          <ac:chgData name="Nick Breul" userId="34de3da7-7b3c-4a46-8c9e-44d2fca28798" providerId="ADAL" clId="{C987F2ED-29FC-4172-8416-EB5170487C0A}" dt="2024-01-03T16:36:59.055" v="765" actId="26606"/>
          <ac:picMkLst>
            <pc:docMk/>
            <pc:sldMk cId="4230208757" sldId="661"/>
            <ac:picMk id="8" creationId="{84DABD87-44A5-0904-A6CE-3ADBCE5C83BD}"/>
          </ac:picMkLst>
        </pc:picChg>
      </pc:sldChg>
      <pc:sldChg chg="addSp delSp modSp new mod">
        <pc:chgData name="Nick Breul" userId="34de3da7-7b3c-4a46-8c9e-44d2fca28798" providerId="ADAL" clId="{C987F2ED-29FC-4172-8416-EB5170487C0A}" dt="2024-01-03T16:46:24.647" v="882"/>
        <pc:sldMkLst>
          <pc:docMk/>
          <pc:sldMk cId="3988135116" sldId="662"/>
        </pc:sldMkLst>
        <pc:spChg chg="mod">
          <ac:chgData name="Nick Breul" userId="34de3da7-7b3c-4a46-8c9e-44d2fca28798" providerId="ADAL" clId="{C987F2ED-29FC-4172-8416-EB5170487C0A}" dt="2024-01-03T16:44:24.660" v="845" actId="20577"/>
          <ac:spMkLst>
            <pc:docMk/>
            <pc:sldMk cId="3988135116" sldId="662"/>
            <ac:spMk id="2" creationId="{2F892E88-62CC-05A5-07A4-3D6C1F89DD50}"/>
          </ac:spMkLst>
        </pc:spChg>
        <pc:spChg chg="del">
          <ac:chgData name="Nick Breul" userId="34de3da7-7b3c-4a46-8c9e-44d2fca28798" providerId="ADAL" clId="{C987F2ED-29FC-4172-8416-EB5170487C0A}" dt="2024-01-03T16:39:03.390" v="779" actId="1957"/>
          <ac:spMkLst>
            <pc:docMk/>
            <pc:sldMk cId="3988135116" sldId="662"/>
            <ac:spMk id="3" creationId="{E877C945-8812-AC38-3908-939E0BCA0801}"/>
          </ac:spMkLst>
        </pc:spChg>
        <pc:spChg chg="add del mod">
          <ac:chgData name="Nick Breul" userId="34de3da7-7b3c-4a46-8c9e-44d2fca28798" providerId="ADAL" clId="{C987F2ED-29FC-4172-8416-EB5170487C0A}" dt="2024-01-03T16:42:41.175" v="806" actId="478"/>
          <ac:spMkLst>
            <pc:docMk/>
            <pc:sldMk cId="3988135116" sldId="662"/>
            <ac:spMk id="8" creationId="{8755CF13-DE9C-2163-CF8C-773794E1C10E}"/>
          </ac:spMkLst>
        </pc:spChg>
        <pc:graphicFrameChg chg="add del mod">
          <ac:chgData name="Nick Breul" userId="34de3da7-7b3c-4a46-8c9e-44d2fca28798" providerId="ADAL" clId="{C987F2ED-29FC-4172-8416-EB5170487C0A}" dt="2024-01-03T16:46:24.647" v="882"/>
          <ac:graphicFrameMkLst>
            <pc:docMk/>
            <pc:sldMk cId="3988135116" sldId="662"/>
            <ac:graphicFrameMk id="6" creationId="{2CB19C8C-31D6-1714-7293-AD6DD2B32AFF}"/>
          </ac:graphicFrameMkLst>
        </pc:graphicFrameChg>
      </pc:sldChg>
      <pc:sldChg chg="addSp delSp modSp new del mod">
        <pc:chgData name="Nick Breul" userId="34de3da7-7b3c-4a46-8c9e-44d2fca28798" providerId="ADAL" clId="{C987F2ED-29FC-4172-8416-EB5170487C0A}" dt="2024-01-03T16:48:26.754" v="888" actId="47"/>
        <pc:sldMkLst>
          <pc:docMk/>
          <pc:sldMk cId="3832499590" sldId="663"/>
        </pc:sldMkLst>
        <pc:spChg chg="del">
          <ac:chgData name="Nick Breul" userId="34de3da7-7b3c-4a46-8c9e-44d2fca28798" providerId="ADAL" clId="{C987F2ED-29FC-4172-8416-EB5170487C0A}" dt="2024-01-03T16:48:06.048" v="884" actId="931"/>
          <ac:spMkLst>
            <pc:docMk/>
            <pc:sldMk cId="3832499590" sldId="663"/>
            <ac:spMk id="6" creationId="{DD6F4028-65B7-DB2C-EEA1-478E3AD942CF}"/>
          </ac:spMkLst>
        </pc:spChg>
        <pc:picChg chg="add mod">
          <ac:chgData name="Nick Breul" userId="34de3da7-7b3c-4a46-8c9e-44d2fca28798" providerId="ADAL" clId="{C987F2ED-29FC-4172-8416-EB5170487C0A}" dt="2024-01-03T16:48:06.818" v="886" actId="962"/>
          <ac:picMkLst>
            <pc:docMk/>
            <pc:sldMk cId="3832499590" sldId="663"/>
            <ac:picMk id="8" creationId="{22F0DE89-488D-71B6-BA5C-4FFD82ABDB97}"/>
          </ac:picMkLst>
        </pc:picChg>
      </pc:sldChg>
      <pc:sldChg chg="addSp delSp modSp new mod setBg modNotesTx">
        <pc:chgData name="Nick Breul" userId="34de3da7-7b3c-4a46-8c9e-44d2fca28798" providerId="ADAL" clId="{C987F2ED-29FC-4172-8416-EB5170487C0A}" dt="2024-01-24T16:18:17.815" v="5939" actId="20577"/>
        <pc:sldMkLst>
          <pc:docMk/>
          <pc:sldMk cId="2948225805" sldId="664"/>
        </pc:sldMkLst>
        <pc:spChg chg="mod">
          <ac:chgData name="Nick Breul" userId="34de3da7-7b3c-4a46-8c9e-44d2fca28798" providerId="ADAL" clId="{C987F2ED-29FC-4172-8416-EB5170487C0A}" dt="2024-01-03T17:40:31.905" v="1026" actId="27636"/>
          <ac:spMkLst>
            <pc:docMk/>
            <pc:sldMk cId="2948225805" sldId="664"/>
            <ac:spMk id="2" creationId="{9EC0BE4D-4F3C-6C1F-B46A-31455A8538DE}"/>
          </ac:spMkLst>
        </pc:spChg>
        <pc:spChg chg="mod">
          <ac:chgData name="Nick Breul" userId="34de3da7-7b3c-4a46-8c9e-44d2fca28798" providerId="ADAL" clId="{C987F2ED-29FC-4172-8416-EB5170487C0A}" dt="2024-01-24T16:18:17.815" v="5939" actId="20577"/>
          <ac:spMkLst>
            <pc:docMk/>
            <pc:sldMk cId="2948225805" sldId="664"/>
            <ac:spMk id="3" creationId="{C5DA1E36-38C6-BEB3-99AA-5A93D4529484}"/>
          </ac:spMkLst>
        </pc:spChg>
        <pc:spChg chg="del">
          <ac:chgData name="Nick Breul" userId="34de3da7-7b3c-4a46-8c9e-44d2fca28798" providerId="ADAL" clId="{C987F2ED-29FC-4172-8416-EB5170487C0A}" dt="2024-01-03T16:56:23.689" v="1005" actId="931"/>
          <ac:spMkLst>
            <pc:docMk/>
            <pc:sldMk cId="2948225805" sldId="664"/>
            <ac:spMk id="4" creationId="{0D578A4F-33B0-6F8F-D69C-61551DDC7FFD}"/>
          </ac:spMkLst>
        </pc:spChg>
        <pc:spChg chg="add">
          <ac:chgData name="Nick Breul" userId="34de3da7-7b3c-4a46-8c9e-44d2fca28798" providerId="ADAL" clId="{C987F2ED-29FC-4172-8416-EB5170487C0A}" dt="2024-01-03T16:56:28.716" v="1008" actId="26606"/>
          <ac:spMkLst>
            <pc:docMk/>
            <pc:sldMk cId="2948225805" sldId="664"/>
            <ac:spMk id="11" creationId="{F13C74B1-5B17-4795-BED0-7140497B445A}"/>
          </ac:spMkLst>
        </pc:spChg>
        <pc:spChg chg="add">
          <ac:chgData name="Nick Breul" userId="34de3da7-7b3c-4a46-8c9e-44d2fca28798" providerId="ADAL" clId="{C987F2ED-29FC-4172-8416-EB5170487C0A}" dt="2024-01-03T16:56:28.716" v="1008" actId="26606"/>
          <ac:spMkLst>
            <pc:docMk/>
            <pc:sldMk cId="2948225805" sldId="664"/>
            <ac:spMk id="13" creationId="{D4974D33-8DC5-464E-8C6D-BE58F0669C17}"/>
          </ac:spMkLst>
        </pc:spChg>
        <pc:picChg chg="add mod">
          <ac:chgData name="Nick Breul" userId="34de3da7-7b3c-4a46-8c9e-44d2fca28798" providerId="ADAL" clId="{C987F2ED-29FC-4172-8416-EB5170487C0A}" dt="2024-01-03T16:56:28.716" v="1008" actId="26606"/>
          <ac:picMkLst>
            <pc:docMk/>
            <pc:sldMk cId="2948225805" sldId="664"/>
            <ac:picMk id="6" creationId="{3647E076-CE21-D972-87D3-AE5669C502CE}"/>
          </ac:picMkLst>
        </pc:picChg>
      </pc:sldChg>
      <pc:sldChg chg="addSp delSp modSp new mod setBg modNotesTx">
        <pc:chgData name="Nick Breul" userId="34de3da7-7b3c-4a46-8c9e-44d2fca28798" providerId="ADAL" clId="{C987F2ED-29FC-4172-8416-EB5170487C0A}" dt="2024-01-24T16:24:14.009" v="5945" actId="20577"/>
        <pc:sldMkLst>
          <pc:docMk/>
          <pc:sldMk cId="1792459432" sldId="665"/>
        </pc:sldMkLst>
        <pc:spChg chg="mod">
          <ac:chgData name="Nick Breul" userId="34de3da7-7b3c-4a46-8c9e-44d2fca28798" providerId="ADAL" clId="{C987F2ED-29FC-4172-8416-EB5170487C0A}" dt="2024-01-03T17:52:20.465" v="1213" actId="20577"/>
          <ac:spMkLst>
            <pc:docMk/>
            <pc:sldMk cId="1792459432" sldId="665"/>
            <ac:spMk id="2" creationId="{F34085FA-8968-8ECD-3A2E-AFBADC5DCDC9}"/>
          </ac:spMkLst>
        </pc:spChg>
        <pc:spChg chg="del mod">
          <ac:chgData name="Nick Breul" userId="34de3da7-7b3c-4a46-8c9e-44d2fca28798" providerId="ADAL" clId="{C987F2ED-29FC-4172-8416-EB5170487C0A}" dt="2024-01-03T17:49:35.488" v="1078" actId="931"/>
          <ac:spMkLst>
            <pc:docMk/>
            <pc:sldMk cId="1792459432" sldId="665"/>
            <ac:spMk id="3" creationId="{66096735-0170-A6B7-AC64-16D194117475}"/>
          </ac:spMkLst>
        </pc:spChg>
        <pc:spChg chg="del">
          <ac:chgData name="Nick Breul" userId="34de3da7-7b3c-4a46-8c9e-44d2fca28798" providerId="ADAL" clId="{C987F2ED-29FC-4172-8416-EB5170487C0A}" dt="2024-01-03T17:43:30.589" v="1048" actId="931"/>
          <ac:spMkLst>
            <pc:docMk/>
            <pc:sldMk cId="1792459432" sldId="665"/>
            <ac:spMk id="4" creationId="{ED99ED6C-B145-5906-7EA3-6EE6859DBD0E}"/>
          </ac:spMkLst>
        </pc:spChg>
        <pc:spChg chg="add del mod">
          <ac:chgData name="Nick Breul" userId="34de3da7-7b3c-4a46-8c9e-44d2fca28798" providerId="ADAL" clId="{C987F2ED-29FC-4172-8416-EB5170487C0A}" dt="2024-01-03T17:46:25.474" v="1052" actId="931"/>
          <ac:spMkLst>
            <pc:docMk/>
            <pc:sldMk cId="1792459432" sldId="665"/>
            <ac:spMk id="8" creationId="{60ED8268-8CBB-4014-6E07-99D1DF201DBA}"/>
          </ac:spMkLst>
        </pc:spChg>
        <pc:spChg chg="add del mod">
          <ac:chgData name="Nick Breul" userId="34de3da7-7b3c-4a46-8c9e-44d2fca28798" providerId="ADAL" clId="{C987F2ED-29FC-4172-8416-EB5170487C0A}" dt="2024-01-03T17:46:36.965" v="1057" actId="478"/>
          <ac:spMkLst>
            <pc:docMk/>
            <pc:sldMk cId="1792459432" sldId="665"/>
            <ac:spMk id="12" creationId="{E5E91BDC-DEA7-4D0D-61B4-255D4B0242A3}"/>
          </ac:spMkLst>
        </pc:spChg>
        <pc:spChg chg="add del mod">
          <ac:chgData name="Nick Breul" userId="34de3da7-7b3c-4a46-8c9e-44d2fca28798" providerId="ADAL" clId="{C987F2ED-29FC-4172-8416-EB5170487C0A}" dt="2024-01-03T17:47:36.921" v="1069" actId="931"/>
          <ac:spMkLst>
            <pc:docMk/>
            <pc:sldMk cId="1792459432" sldId="665"/>
            <ac:spMk id="14" creationId="{68B019FA-19F8-CB0B-509C-01CBBF746ED2}"/>
          </ac:spMkLst>
        </pc:spChg>
        <pc:spChg chg="add del">
          <ac:chgData name="Nick Breul" userId="34de3da7-7b3c-4a46-8c9e-44d2fca28798" providerId="ADAL" clId="{C987F2ED-29FC-4172-8416-EB5170487C0A}" dt="2024-01-03T17:46:37.466" v="1058" actId="26606"/>
          <ac:spMkLst>
            <pc:docMk/>
            <pc:sldMk cId="1792459432" sldId="665"/>
            <ac:spMk id="15" creationId="{F13C74B1-5B17-4795-BED0-7140497B445A}"/>
          </ac:spMkLst>
        </pc:spChg>
        <pc:spChg chg="add del">
          <ac:chgData name="Nick Breul" userId="34de3da7-7b3c-4a46-8c9e-44d2fca28798" providerId="ADAL" clId="{C987F2ED-29FC-4172-8416-EB5170487C0A}" dt="2024-01-03T17:46:37.466" v="1058" actId="26606"/>
          <ac:spMkLst>
            <pc:docMk/>
            <pc:sldMk cId="1792459432" sldId="665"/>
            <ac:spMk id="17" creationId="{D4974D33-8DC5-464E-8C6D-BE58F0669C17}"/>
          </ac:spMkLst>
        </pc:spChg>
        <pc:spChg chg="add del">
          <ac:chgData name="Nick Breul" userId="34de3da7-7b3c-4a46-8c9e-44d2fca28798" providerId="ADAL" clId="{C987F2ED-29FC-4172-8416-EB5170487C0A}" dt="2024-01-03T17:49:41.717" v="1081" actId="26606"/>
          <ac:spMkLst>
            <pc:docMk/>
            <pc:sldMk cId="1792459432" sldId="665"/>
            <ac:spMk id="22" creationId="{F13C74B1-5B17-4795-BED0-7140497B445A}"/>
          </ac:spMkLst>
        </pc:spChg>
        <pc:spChg chg="add del">
          <ac:chgData name="Nick Breul" userId="34de3da7-7b3c-4a46-8c9e-44d2fca28798" providerId="ADAL" clId="{C987F2ED-29FC-4172-8416-EB5170487C0A}" dt="2024-01-03T17:47:25.624" v="1066" actId="26606"/>
          <ac:spMkLst>
            <pc:docMk/>
            <pc:sldMk cId="1792459432" sldId="665"/>
            <ac:spMk id="23" creationId="{F13C74B1-5B17-4795-BED0-7140497B445A}"/>
          </ac:spMkLst>
        </pc:spChg>
        <pc:spChg chg="add mod">
          <ac:chgData name="Nick Breul" userId="34de3da7-7b3c-4a46-8c9e-44d2fca28798" providerId="ADAL" clId="{C987F2ED-29FC-4172-8416-EB5170487C0A}" dt="2024-01-24T16:24:14.009" v="5945" actId="20577"/>
          <ac:spMkLst>
            <pc:docMk/>
            <pc:sldMk cId="1792459432" sldId="665"/>
            <ac:spMk id="24" creationId="{D185AB15-44CA-C4AD-F074-1D45D087FE1C}"/>
          </ac:spMkLst>
        </pc:spChg>
        <pc:spChg chg="add del">
          <ac:chgData name="Nick Breul" userId="34de3da7-7b3c-4a46-8c9e-44d2fca28798" providerId="ADAL" clId="{C987F2ED-29FC-4172-8416-EB5170487C0A}" dt="2024-01-03T17:47:25.624" v="1066" actId="26606"/>
          <ac:spMkLst>
            <pc:docMk/>
            <pc:sldMk cId="1792459432" sldId="665"/>
            <ac:spMk id="25" creationId="{D4974D33-8DC5-464E-8C6D-BE58F0669C17}"/>
          </ac:spMkLst>
        </pc:spChg>
        <pc:spChg chg="add del">
          <ac:chgData name="Nick Breul" userId="34de3da7-7b3c-4a46-8c9e-44d2fca28798" providerId="ADAL" clId="{C987F2ED-29FC-4172-8416-EB5170487C0A}" dt="2024-01-03T17:49:41.717" v="1081" actId="26606"/>
          <ac:spMkLst>
            <pc:docMk/>
            <pc:sldMk cId="1792459432" sldId="665"/>
            <ac:spMk id="27" creationId="{D4974D33-8DC5-464E-8C6D-BE58F0669C17}"/>
          </ac:spMkLst>
        </pc:spChg>
        <pc:spChg chg="add">
          <ac:chgData name="Nick Breul" userId="34de3da7-7b3c-4a46-8c9e-44d2fca28798" providerId="ADAL" clId="{C987F2ED-29FC-4172-8416-EB5170487C0A}" dt="2024-01-03T17:49:41.717" v="1081" actId="26606"/>
          <ac:spMkLst>
            <pc:docMk/>
            <pc:sldMk cId="1792459432" sldId="665"/>
            <ac:spMk id="33" creationId="{F13C74B1-5B17-4795-BED0-7140497B445A}"/>
          </ac:spMkLst>
        </pc:spChg>
        <pc:spChg chg="add">
          <ac:chgData name="Nick Breul" userId="34de3da7-7b3c-4a46-8c9e-44d2fca28798" providerId="ADAL" clId="{C987F2ED-29FC-4172-8416-EB5170487C0A}" dt="2024-01-03T17:49:41.717" v="1081" actId="26606"/>
          <ac:spMkLst>
            <pc:docMk/>
            <pc:sldMk cId="1792459432" sldId="665"/>
            <ac:spMk id="35" creationId="{D4974D33-8DC5-464E-8C6D-BE58F0669C17}"/>
          </ac:spMkLst>
        </pc:spChg>
        <pc:picChg chg="add del mod">
          <ac:chgData name="Nick Breul" userId="34de3da7-7b3c-4a46-8c9e-44d2fca28798" providerId="ADAL" clId="{C987F2ED-29FC-4172-8416-EB5170487C0A}" dt="2024-01-03T17:43:34.513" v="1051" actId="478"/>
          <ac:picMkLst>
            <pc:docMk/>
            <pc:sldMk cId="1792459432" sldId="665"/>
            <ac:picMk id="6" creationId="{C1E474AD-67AC-BB59-1B49-68F03A6ABC3E}"/>
          </ac:picMkLst>
        </pc:picChg>
        <pc:picChg chg="add del mod">
          <ac:chgData name="Nick Breul" userId="34de3da7-7b3c-4a46-8c9e-44d2fca28798" providerId="ADAL" clId="{C987F2ED-29FC-4172-8416-EB5170487C0A}" dt="2024-01-03T17:46:39.518" v="1059" actId="478"/>
          <ac:picMkLst>
            <pc:docMk/>
            <pc:sldMk cId="1792459432" sldId="665"/>
            <ac:picMk id="10" creationId="{52E46A1A-4922-B4B1-BAE4-28DBC7A28CF7}"/>
          </ac:picMkLst>
        </pc:picChg>
        <pc:picChg chg="add del mod">
          <ac:chgData name="Nick Breul" userId="34de3da7-7b3c-4a46-8c9e-44d2fca28798" providerId="ADAL" clId="{C987F2ED-29FC-4172-8416-EB5170487C0A}" dt="2024-01-03T17:47:26.179" v="1068" actId="931"/>
          <ac:picMkLst>
            <pc:docMk/>
            <pc:sldMk cId="1792459432" sldId="665"/>
            <ac:picMk id="18" creationId="{FF0CBBC8-F361-081B-6B87-340A96913E78}"/>
          </ac:picMkLst>
        </pc:picChg>
        <pc:picChg chg="add del mod">
          <ac:chgData name="Nick Breul" userId="34de3da7-7b3c-4a46-8c9e-44d2fca28798" providerId="ADAL" clId="{C987F2ED-29FC-4172-8416-EB5170487C0A}" dt="2024-01-03T17:48:13.662" v="1077" actId="478"/>
          <ac:picMkLst>
            <pc:docMk/>
            <pc:sldMk cId="1792459432" sldId="665"/>
            <ac:picMk id="20" creationId="{4DF125C7-5EA8-1E95-E5B2-37F260579262}"/>
          </ac:picMkLst>
        </pc:picChg>
        <pc:picChg chg="add mod ord">
          <ac:chgData name="Nick Breul" userId="34de3da7-7b3c-4a46-8c9e-44d2fca28798" providerId="ADAL" clId="{C987F2ED-29FC-4172-8416-EB5170487C0A}" dt="2024-01-03T17:49:41.717" v="1081" actId="26606"/>
          <ac:picMkLst>
            <pc:docMk/>
            <pc:sldMk cId="1792459432" sldId="665"/>
            <ac:picMk id="28" creationId="{9518CB6A-DD14-B515-3BA2-F73C057801C5}"/>
          </ac:picMkLst>
        </pc:picChg>
      </pc:sldChg>
      <pc:sldChg chg="addSp delSp modSp new mod setBg modNotesTx">
        <pc:chgData name="Nick Breul" userId="34de3da7-7b3c-4a46-8c9e-44d2fca28798" providerId="ADAL" clId="{C987F2ED-29FC-4172-8416-EB5170487C0A}" dt="2024-01-24T15:22:50.982" v="5464" actId="20577"/>
        <pc:sldMkLst>
          <pc:docMk/>
          <pc:sldMk cId="2325685914" sldId="666"/>
        </pc:sldMkLst>
        <pc:spChg chg="mod">
          <ac:chgData name="Nick Breul" userId="34de3da7-7b3c-4a46-8c9e-44d2fca28798" providerId="ADAL" clId="{C987F2ED-29FC-4172-8416-EB5170487C0A}" dt="2024-01-03T18:03:33.030" v="1376" actId="26606"/>
          <ac:spMkLst>
            <pc:docMk/>
            <pc:sldMk cId="2325685914" sldId="666"/>
            <ac:spMk id="2" creationId="{1738B40A-931F-9624-A23A-5F57343A8E19}"/>
          </ac:spMkLst>
        </pc:spChg>
        <pc:spChg chg="mod ord">
          <ac:chgData name="Nick Breul" userId="34de3da7-7b3c-4a46-8c9e-44d2fca28798" providerId="ADAL" clId="{C987F2ED-29FC-4172-8416-EB5170487C0A}" dt="2024-01-24T15:22:50.982" v="5464" actId="20577"/>
          <ac:spMkLst>
            <pc:docMk/>
            <pc:sldMk cId="2325685914" sldId="666"/>
            <ac:spMk id="3" creationId="{0D6D2A28-2057-41B0-AF88-4BA8F77FD572}"/>
          </ac:spMkLst>
        </pc:spChg>
        <pc:spChg chg="del">
          <ac:chgData name="Nick Breul" userId="34de3da7-7b3c-4a46-8c9e-44d2fca28798" providerId="ADAL" clId="{C987F2ED-29FC-4172-8416-EB5170487C0A}" dt="2024-01-03T17:58:04.298" v="1254" actId="931"/>
          <ac:spMkLst>
            <pc:docMk/>
            <pc:sldMk cId="2325685914" sldId="666"/>
            <ac:spMk id="4" creationId="{8215AEFB-93F5-F7E7-1452-85D5C8474667}"/>
          </ac:spMkLst>
        </pc:spChg>
        <pc:spChg chg="add del mod">
          <ac:chgData name="Nick Breul" userId="34de3da7-7b3c-4a46-8c9e-44d2fca28798" providerId="ADAL" clId="{C987F2ED-29FC-4172-8416-EB5170487C0A}" dt="2024-01-03T18:03:29.492" v="1373" actId="931"/>
          <ac:spMkLst>
            <pc:docMk/>
            <pc:sldMk cId="2325685914" sldId="666"/>
            <ac:spMk id="8" creationId="{3BB654F1-80BB-22FC-B0AA-1AB5F02D54B7}"/>
          </ac:spMkLst>
        </pc:spChg>
        <pc:spChg chg="add del">
          <ac:chgData name="Nick Breul" userId="34de3da7-7b3c-4a46-8c9e-44d2fca28798" providerId="ADAL" clId="{C987F2ED-29FC-4172-8416-EB5170487C0A}" dt="2024-01-03T18:03:33.030" v="1376" actId="26606"/>
          <ac:spMkLst>
            <pc:docMk/>
            <pc:sldMk cId="2325685914" sldId="666"/>
            <ac:spMk id="11" creationId="{C681C32C-7AFC-4BB3-9088-65CBDFC5D1C2}"/>
          </ac:spMkLst>
        </pc:spChg>
        <pc:spChg chg="add del">
          <ac:chgData name="Nick Breul" userId="34de3da7-7b3c-4a46-8c9e-44d2fca28798" providerId="ADAL" clId="{C987F2ED-29FC-4172-8416-EB5170487C0A}" dt="2024-01-03T18:03:33.030" v="1376" actId="26606"/>
          <ac:spMkLst>
            <pc:docMk/>
            <pc:sldMk cId="2325685914" sldId="666"/>
            <ac:spMk id="13" creationId="{199C0ED0-69DE-4C31-A5CF-E2A46FD30226}"/>
          </ac:spMkLst>
        </pc:spChg>
        <pc:spChg chg="add del">
          <ac:chgData name="Nick Breul" userId="34de3da7-7b3c-4a46-8c9e-44d2fca28798" providerId="ADAL" clId="{C987F2ED-29FC-4172-8416-EB5170487C0A}" dt="2024-01-03T18:03:33.030" v="1376" actId="26606"/>
          <ac:spMkLst>
            <pc:docMk/>
            <pc:sldMk cId="2325685914" sldId="666"/>
            <ac:spMk id="15" creationId="{8D42B8BD-40AF-488E-8A79-D7256C917229}"/>
          </ac:spMkLst>
        </pc:spChg>
        <pc:spChg chg="add">
          <ac:chgData name="Nick Breul" userId="34de3da7-7b3c-4a46-8c9e-44d2fca28798" providerId="ADAL" clId="{C987F2ED-29FC-4172-8416-EB5170487C0A}" dt="2024-01-03T18:03:33.030" v="1376" actId="26606"/>
          <ac:spMkLst>
            <pc:docMk/>
            <pc:sldMk cId="2325685914" sldId="666"/>
            <ac:spMk id="20" creationId="{F13C74B1-5B17-4795-BED0-7140497B445A}"/>
          </ac:spMkLst>
        </pc:spChg>
        <pc:spChg chg="add">
          <ac:chgData name="Nick Breul" userId="34de3da7-7b3c-4a46-8c9e-44d2fca28798" providerId="ADAL" clId="{C987F2ED-29FC-4172-8416-EB5170487C0A}" dt="2024-01-03T18:03:33.030" v="1376" actId="26606"/>
          <ac:spMkLst>
            <pc:docMk/>
            <pc:sldMk cId="2325685914" sldId="666"/>
            <ac:spMk id="22" creationId="{D4974D33-8DC5-464E-8C6D-BE58F0669C17}"/>
          </ac:spMkLst>
        </pc:spChg>
        <pc:picChg chg="add del mod">
          <ac:chgData name="Nick Breul" userId="34de3da7-7b3c-4a46-8c9e-44d2fca28798" providerId="ADAL" clId="{C987F2ED-29FC-4172-8416-EB5170487C0A}" dt="2024-01-03T18:01:46.097" v="1372" actId="478"/>
          <ac:picMkLst>
            <pc:docMk/>
            <pc:sldMk cId="2325685914" sldId="666"/>
            <ac:picMk id="6" creationId="{813A7B79-2066-7029-63BC-64716AF33C73}"/>
          </ac:picMkLst>
        </pc:picChg>
        <pc:picChg chg="add mod">
          <ac:chgData name="Nick Breul" userId="34de3da7-7b3c-4a46-8c9e-44d2fca28798" providerId="ADAL" clId="{C987F2ED-29FC-4172-8416-EB5170487C0A}" dt="2024-01-03T18:03:33.030" v="1376" actId="26606"/>
          <ac:picMkLst>
            <pc:docMk/>
            <pc:sldMk cId="2325685914" sldId="666"/>
            <ac:picMk id="10" creationId="{D153F9E7-C98A-91B1-D6BC-4C4265ABE002}"/>
          </ac:picMkLst>
        </pc:picChg>
      </pc:sldChg>
      <pc:sldChg chg="addSp delSp modSp new mod setBg">
        <pc:chgData name="Nick Breul" userId="34de3da7-7b3c-4a46-8c9e-44d2fca28798" providerId="ADAL" clId="{C987F2ED-29FC-4172-8416-EB5170487C0A}" dt="2024-01-24T16:21:05.657" v="5944" actId="20577"/>
        <pc:sldMkLst>
          <pc:docMk/>
          <pc:sldMk cId="39459306" sldId="667"/>
        </pc:sldMkLst>
        <pc:spChg chg="mod">
          <ac:chgData name="Nick Breul" userId="34de3da7-7b3c-4a46-8c9e-44d2fca28798" providerId="ADAL" clId="{C987F2ED-29FC-4172-8416-EB5170487C0A}" dt="2024-01-03T18:08:23.652" v="1719" actId="26606"/>
          <ac:spMkLst>
            <pc:docMk/>
            <pc:sldMk cId="39459306" sldId="667"/>
            <ac:spMk id="2" creationId="{F2E5D7CA-A856-6FAA-D664-DE30CF4968BA}"/>
          </ac:spMkLst>
        </pc:spChg>
        <pc:spChg chg="mod">
          <ac:chgData name="Nick Breul" userId="34de3da7-7b3c-4a46-8c9e-44d2fca28798" providerId="ADAL" clId="{C987F2ED-29FC-4172-8416-EB5170487C0A}" dt="2024-01-24T16:21:05.657" v="5944" actId="20577"/>
          <ac:spMkLst>
            <pc:docMk/>
            <pc:sldMk cId="39459306" sldId="667"/>
            <ac:spMk id="3" creationId="{39B86F38-B428-5C8A-8571-D6F95EE22648}"/>
          </ac:spMkLst>
        </pc:spChg>
        <pc:spChg chg="del">
          <ac:chgData name="Nick Breul" userId="34de3da7-7b3c-4a46-8c9e-44d2fca28798" providerId="ADAL" clId="{C987F2ED-29FC-4172-8416-EB5170487C0A}" dt="2024-01-03T18:04:53.905" v="1402" actId="931"/>
          <ac:spMkLst>
            <pc:docMk/>
            <pc:sldMk cId="39459306" sldId="667"/>
            <ac:spMk id="4" creationId="{7A18BD69-681A-7CA0-1084-5A103D7E5B26}"/>
          </ac:spMkLst>
        </pc:spChg>
        <pc:spChg chg="add">
          <ac:chgData name="Nick Breul" userId="34de3da7-7b3c-4a46-8c9e-44d2fca28798" providerId="ADAL" clId="{C987F2ED-29FC-4172-8416-EB5170487C0A}" dt="2024-01-03T18:08:23.652" v="1719" actId="26606"/>
          <ac:spMkLst>
            <pc:docMk/>
            <pc:sldMk cId="39459306" sldId="667"/>
            <ac:spMk id="11" creationId="{C0763A76-9F1C-4FC5-82B7-DD475DA461B2}"/>
          </ac:spMkLst>
        </pc:spChg>
        <pc:spChg chg="add">
          <ac:chgData name="Nick Breul" userId="34de3da7-7b3c-4a46-8c9e-44d2fca28798" providerId="ADAL" clId="{C987F2ED-29FC-4172-8416-EB5170487C0A}" dt="2024-01-03T18:08:23.652" v="1719" actId="26606"/>
          <ac:spMkLst>
            <pc:docMk/>
            <pc:sldMk cId="39459306" sldId="667"/>
            <ac:spMk id="13" creationId="{E81BF4F6-F2CF-4984-9D14-D6966D92F99F}"/>
          </ac:spMkLst>
        </pc:spChg>
        <pc:picChg chg="add mod">
          <ac:chgData name="Nick Breul" userId="34de3da7-7b3c-4a46-8c9e-44d2fca28798" providerId="ADAL" clId="{C987F2ED-29FC-4172-8416-EB5170487C0A}" dt="2024-01-03T18:08:23.652" v="1719" actId="26606"/>
          <ac:picMkLst>
            <pc:docMk/>
            <pc:sldMk cId="39459306" sldId="667"/>
            <ac:picMk id="6" creationId="{9716E7CF-5964-814B-1D98-ED9D03193BA0}"/>
          </ac:picMkLst>
        </pc:picChg>
      </pc:sldChg>
      <pc:sldChg chg="addSp delSp modSp new mod modNotesTx">
        <pc:chgData name="Nick Breul" userId="34de3da7-7b3c-4a46-8c9e-44d2fca28798" providerId="ADAL" clId="{C987F2ED-29FC-4172-8416-EB5170487C0A}" dt="2024-01-16T18:06:04.772" v="3688" actId="20577"/>
        <pc:sldMkLst>
          <pc:docMk/>
          <pc:sldMk cId="3774100168" sldId="668"/>
        </pc:sldMkLst>
        <pc:spChg chg="mod">
          <ac:chgData name="Nick Breul" userId="34de3da7-7b3c-4a46-8c9e-44d2fca28798" providerId="ADAL" clId="{C987F2ED-29FC-4172-8416-EB5170487C0A}" dt="2024-01-03T18:12:41.465" v="1787" actId="20577"/>
          <ac:spMkLst>
            <pc:docMk/>
            <pc:sldMk cId="3774100168" sldId="668"/>
            <ac:spMk id="2" creationId="{9F266E37-3CDF-2B1D-6237-7D70D711D7C9}"/>
          </ac:spMkLst>
        </pc:spChg>
        <pc:spChg chg="del">
          <ac:chgData name="Nick Breul" userId="34de3da7-7b3c-4a46-8c9e-44d2fca28798" providerId="ADAL" clId="{C987F2ED-29FC-4172-8416-EB5170487C0A}" dt="2024-01-03T18:09:41.782" v="1723" actId="1957"/>
          <ac:spMkLst>
            <pc:docMk/>
            <pc:sldMk cId="3774100168" sldId="668"/>
            <ac:spMk id="3" creationId="{270E9CCF-37CD-78F5-BEB1-36BA91633FE6}"/>
          </ac:spMkLst>
        </pc:spChg>
        <pc:graphicFrameChg chg="add mod">
          <ac:chgData name="Nick Breul" userId="34de3da7-7b3c-4a46-8c9e-44d2fca28798" providerId="ADAL" clId="{C987F2ED-29FC-4172-8416-EB5170487C0A}" dt="2024-01-03T18:13:35.567" v="1820"/>
          <ac:graphicFrameMkLst>
            <pc:docMk/>
            <pc:sldMk cId="3774100168" sldId="668"/>
            <ac:graphicFrameMk id="6" creationId="{06E59085-630E-DFC8-BAEB-B01C01643D5D}"/>
          </ac:graphicFrameMkLst>
        </pc:graphicFrameChg>
      </pc:sldChg>
      <pc:sldChg chg="addSp delSp modSp new mod modNotesTx">
        <pc:chgData name="Nick Breul" userId="34de3da7-7b3c-4a46-8c9e-44d2fca28798" providerId="ADAL" clId="{C987F2ED-29FC-4172-8416-EB5170487C0A}" dt="2024-01-22T16:47:20.960" v="5210" actId="27918"/>
        <pc:sldMkLst>
          <pc:docMk/>
          <pc:sldMk cId="3140431917" sldId="669"/>
        </pc:sldMkLst>
        <pc:spChg chg="mod">
          <ac:chgData name="Nick Breul" userId="34de3da7-7b3c-4a46-8c9e-44d2fca28798" providerId="ADAL" clId="{C987F2ED-29FC-4172-8416-EB5170487C0A}" dt="2024-01-03T18:16:40.805" v="1857" actId="20577"/>
          <ac:spMkLst>
            <pc:docMk/>
            <pc:sldMk cId="3140431917" sldId="669"/>
            <ac:spMk id="2" creationId="{A2CF1376-7256-B9A2-9A07-6CB23847C0F7}"/>
          </ac:spMkLst>
        </pc:spChg>
        <pc:spChg chg="del">
          <ac:chgData name="Nick Breul" userId="34de3da7-7b3c-4a46-8c9e-44d2fca28798" providerId="ADAL" clId="{C987F2ED-29FC-4172-8416-EB5170487C0A}" dt="2024-01-03T18:15:17.752" v="1828" actId="1957"/>
          <ac:spMkLst>
            <pc:docMk/>
            <pc:sldMk cId="3140431917" sldId="669"/>
            <ac:spMk id="3" creationId="{B9FAC95A-D879-C67D-A087-60BB9F0D2C98}"/>
          </ac:spMkLst>
        </pc:spChg>
        <pc:graphicFrameChg chg="add mod">
          <ac:chgData name="Nick Breul" userId="34de3da7-7b3c-4a46-8c9e-44d2fca28798" providerId="ADAL" clId="{C987F2ED-29FC-4172-8416-EB5170487C0A}" dt="2024-01-03T18:19:47.422" v="1865"/>
          <ac:graphicFrameMkLst>
            <pc:docMk/>
            <pc:sldMk cId="3140431917" sldId="669"/>
            <ac:graphicFrameMk id="6" creationId="{7538510C-497F-AF44-FC19-32C9FAD3D8D2}"/>
          </ac:graphicFrameMkLst>
        </pc:graphicFrameChg>
      </pc:sldChg>
      <pc:sldChg chg="new del">
        <pc:chgData name="Nick Breul" userId="34de3da7-7b3c-4a46-8c9e-44d2fca28798" providerId="ADAL" clId="{C987F2ED-29FC-4172-8416-EB5170487C0A}" dt="2024-01-03T18:38:43.536" v="2088" actId="47"/>
        <pc:sldMkLst>
          <pc:docMk/>
          <pc:sldMk cId="4253899729" sldId="670"/>
        </pc:sldMkLst>
      </pc:sldChg>
      <pc:sldChg chg="addSp delSp modSp new mod ord setBg">
        <pc:chgData name="Nick Breul" userId="34de3da7-7b3c-4a46-8c9e-44d2fca28798" providerId="ADAL" clId="{C987F2ED-29FC-4172-8416-EB5170487C0A}" dt="2024-01-08T14:58:07.016" v="3506" actId="20577"/>
        <pc:sldMkLst>
          <pc:docMk/>
          <pc:sldMk cId="2129548766" sldId="671"/>
        </pc:sldMkLst>
        <pc:spChg chg="mod">
          <ac:chgData name="Nick Breul" userId="34de3da7-7b3c-4a46-8c9e-44d2fca28798" providerId="ADAL" clId="{C987F2ED-29FC-4172-8416-EB5170487C0A}" dt="2024-01-03T18:33:05.895" v="2058" actId="26606"/>
          <ac:spMkLst>
            <pc:docMk/>
            <pc:sldMk cId="2129548766" sldId="671"/>
            <ac:spMk id="2" creationId="{4BD93D84-353E-08CD-1099-C4BE0F618B22}"/>
          </ac:spMkLst>
        </pc:spChg>
        <pc:spChg chg="add del mod">
          <ac:chgData name="Nick Breul" userId="34de3da7-7b3c-4a46-8c9e-44d2fca28798" providerId="ADAL" clId="{C987F2ED-29FC-4172-8416-EB5170487C0A}" dt="2024-01-03T18:30:20.258" v="1983" actId="26606"/>
          <ac:spMkLst>
            <pc:docMk/>
            <pc:sldMk cId="2129548766" sldId="671"/>
            <ac:spMk id="3" creationId="{035B2BDF-F0F9-6900-855E-846051BC4659}"/>
          </ac:spMkLst>
        </pc:spChg>
        <pc:spChg chg="del">
          <ac:chgData name="Nick Breul" userId="34de3da7-7b3c-4a46-8c9e-44d2fca28798" providerId="ADAL" clId="{C987F2ED-29FC-4172-8416-EB5170487C0A}" dt="2024-01-03T18:29:53.309" v="1976" actId="931"/>
          <ac:spMkLst>
            <pc:docMk/>
            <pc:sldMk cId="2129548766" sldId="671"/>
            <ac:spMk id="4" creationId="{314150C8-843A-FDD0-63F0-D0B38C7898B8}"/>
          </ac:spMkLst>
        </pc:spChg>
        <pc:spChg chg="add del">
          <ac:chgData name="Nick Breul" userId="34de3da7-7b3c-4a46-8c9e-44d2fca28798" providerId="ADAL" clId="{C987F2ED-29FC-4172-8416-EB5170487C0A}" dt="2024-01-03T18:30:11.022" v="1980" actId="26606"/>
          <ac:spMkLst>
            <pc:docMk/>
            <pc:sldMk cId="2129548766" sldId="671"/>
            <ac:spMk id="11" creationId="{F13C74B1-5B17-4795-BED0-7140497B445A}"/>
          </ac:spMkLst>
        </pc:spChg>
        <pc:spChg chg="add del">
          <ac:chgData name="Nick Breul" userId="34de3da7-7b3c-4a46-8c9e-44d2fca28798" providerId="ADAL" clId="{C987F2ED-29FC-4172-8416-EB5170487C0A}" dt="2024-01-03T18:30:11.022" v="1980" actId="26606"/>
          <ac:spMkLst>
            <pc:docMk/>
            <pc:sldMk cId="2129548766" sldId="671"/>
            <ac:spMk id="13" creationId="{D4974D33-8DC5-464E-8C6D-BE58F0669C17}"/>
          </ac:spMkLst>
        </pc:spChg>
        <pc:spChg chg="add del">
          <ac:chgData name="Nick Breul" userId="34de3da7-7b3c-4a46-8c9e-44d2fca28798" providerId="ADAL" clId="{C987F2ED-29FC-4172-8416-EB5170487C0A}" dt="2024-01-03T18:33:05.895" v="2058" actId="26606"/>
          <ac:spMkLst>
            <pc:docMk/>
            <pc:sldMk cId="2129548766" sldId="671"/>
            <ac:spMk id="17" creationId="{F13C74B1-5B17-4795-BED0-7140497B445A}"/>
          </ac:spMkLst>
        </pc:spChg>
        <pc:spChg chg="add del">
          <ac:chgData name="Nick Breul" userId="34de3da7-7b3c-4a46-8c9e-44d2fca28798" providerId="ADAL" clId="{C987F2ED-29FC-4172-8416-EB5170487C0A}" dt="2024-01-03T18:33:05.895" v="2058" actId="26606"/>
          <ac:spMkLst>
            <pc:docMk/>
            <pc:sldMk cId="2129548766" sldId="671"/>
            <ac:spMk id="18" creationId="{D4974D33-8DC5-464E-8C6D-BE58F0669C17}"/>
          </ac:spMkLst>
        </pc:spChg>
        <pc:spChg chg="add mod ord">
          <ac:chgData name="Nick Breul" userId="34de3da7-7b3c-4a46-8c9e-44d2fca28798" providerId="ADAL" clId="{C987F2ED-29FC-4172-8416-EB5170487C0A}" dt="2024-01-08T14:58:07.016" v="3506" actId="20577"/>
          <ac:spMkLst>
            <pc:docMk/>
            <pc:sldMk cId="2129548766" sldId="671"/>
            <ac:spMk id="19" creationId="{035B2BDF-F0F9-6900-855E-846051BC4659}"/>
          </ac:spMkLst>
        </pc:spChg>
        <pc:spChg chg="add">
          <ac:chgData name="Nick Breul" userId="34de3da7-7b3c-4a46-8c9e-44d2fca28798" providerId="ADAL" clId="{C987F2ED-29FC-4172-8416-EB5170487C0A}" dt="2024-01-03T18:33:05.895" v="2058" actId="26606"/>
          <ac:spMkLst>
            <pc:docMk/>
            <pc:sldMk cId="2129548766" sldId="671"/>
            <ac:spMk id="24" creationId="{B1595A09-E336-4D1B-9B3A-06A2287A54E2}"/>
          </ac:spMkLst>
        </pc:spChg>
        <pc:spChg chg="add">
          <ac:chgData name="Nick Breul" userId="34de3da7-7b3c-4a46-8c9e-44d2fca28798" providerId="ADAL" clId="{C987F2ED-29FC-4172-8416-EB5170487C0A}" dt="2024-01-03T18:33:05.895" v="2058" actId="26606"/>
          <ac:spMkLst>
            <pc:docMk/>
            <pc:sldMk cId="2129548766" sldId="671"/>
            <ac:spMk id="26" creationId="{3540989C-C7B8-473B-BF87-6F2DA6A90006}"/>
          </ac:spMkLst>
        </pc:spChg>
        <pc:picChg chg="add mod">
          <ac:chgData name="Nick Breul" userId="34de3da7-7b3c-4a46-8c9e-44d2fca28798" providerId="ADAL" clId="{C987F2ED-29FC-4172-8416-EB5170487C0A}" dt="2024-01-03T18:33:05.895" v="2058" actId="26606"/>
          <ac:picMkLst>
            <pc:docMk/>
            <pc:sldMk cId="2129548766" sldId="671"/>
            <ac:picMk id="6" creationId="{D2D7AC62-0EBE-85CB-25F6-39788DB81890}"/>
          </ac:picMkLst>
        </pc:picChg>
        <pc:cxnChg chg="add del">
          <ac:chgData name="Nick Breul" userId="34de3da7-7b3c-4a46-8c9e-44d2fca28798" providerId="ADAL" clId="{C987F2ED-29FC-4172-8416-EB5170487C0A}" dt="2024-01-03T18:30:20.242" v="1982" actId="26606"/>
          <ac:cxnSpMkLst>
            <pc:docMk/>
            <pc:sldMk cId="2129548766" sldId="671"/>
            <ac:cxnSpMk id="15" creationId="{7667AA61-5C27-F30F-D229-06CBE5709F33}"/>
          </ac:cxnSpMkLst>
        </pc:cxnChg>
      </pc:sldChg>
      <pc:sldChg chg="addSp delSp modSp new del mod setBg">
        <pc:chgData name="Nick Breul" userId="34de3da7-7b3c-4a46-8c9e-44d2fca28798" providerId="ADAL" clId="{C987F2ED-29FC-4172-8416-EB5170487C0A}" dt="2024-01-03T18:40:48.041" v="2128" actId="47"/>
        <pc:sldMkLst>
          <pc:docMk/>
          <pc:sldMk cId="3441643226" sldId="672"/>
        </pc:sldMkLst>
        <pc:spChg chg="del mod">
          <ac:chgData name="Nick Breul" userId="34de3da7-7b3c-4a46-8c9e-44d2fca28798" providerId="ADAL" clId="{C987F2ED-29FC-4172-8416-EB5170487C0A}" dt="2024-01-03T18:38:28.912" v="2086" actId="26606"/>
          <ac:spMkLst>
            <pc:docMk/>
            <pc:sldMk cId="3441643226" sldId="672"/>
            <ac:spMk id="2" creationId="{D7677DD9-C47B-C3E7-0949-3D90FD5A0523}"/>
          </ac:spMkLst>
        </pc:spChg>
        <pc:spChg chg="del mod ord">
          <ac:chgData name="Nick Breul" userId="34de3da7-7b3c-4a46-8c9e-44d2fca28798" providerId="ADAL" clId="{C987F2ED-29FC-4172-8416-EB5170487C0A}" dt="2024-01-03T18:38:28.912" v="2086" actId="26606"/>
          <ac:spMkLst>
            <pc:docMk/>
            <pc:sldMk cId="3441643226" sldId="672"/>
            <ac:spMk id="3" creationId="{EAFC1651-4C26-D647-E334-1DC891C1BAF1}"/>
          </ac:spMkLst>
        </pc:spChg>
        <pc:spChg chg="del">
          <ac:chgData name="Nick Breul" userId="34de3da7-7b3c-4a46-8c9e-44d2fca28798" providerId="ADAL" clId="{C987F2ED-29FC-4172-8416-EB5170487C0A}" dt="2024-01-03T18:37:39.461" v="2077" actId="931"/>
          <ac:spMkLst>
            <pc:docMk/>
            <pc:sldMk cId="3441643226" sldId="672"/>
            <ac:spMk id="4" creationId="{98FBE2E2-71DF-50F7-6F40-29FB4A0E109F}"/>
          </ac:spMkLst>
        </pc:spChg>
        <pc:spChg chg="add mod">
          <ac:chgData name="Nick Breul" userId="34de3da7-7b3c-4a46-8c9e-44d2fca28798" providerId="ADAL" clId="{C987F2ED-29FC-4172-8416-EB5170487C0A}" dt="2024-01-03T18:38:37.440" v="2087" actId="478"/>
          <ac:spMkLst>
            <pc:docMk/>
            <pc:sldMk cId="3441643226" sldId="672"/>
            <ac:spMk id="8" creationId="{C1AF1A48-04BC-47C9-1B94-0F31A27B99EA}"/>
          </ac:spMkLst>
        </pc:spChg>
        <pc:spChg chg="add del">
          <ac:chgData name="Nick Breul" userId="34de3da7-7b3c-4a46-8c9e-44d2fca28798" providerId="ADAL" clId="{C987F2ED-29FC-4172-8416-EB5170487C0A}" dt="2024-01-03T18:38:05.282" v="2083" actId="26606"/>
          <ac:spMkLst>
            <pc:docMk/>
            <pc:sldMk cId="3441643226" sldId="672"/>
            <ac:spMk id="11" creationId="{F94AA2BD-2E3F-4B1D-8127-5744B8115311}"/>
          </ac:spMkLst>
        </pc:spChg>
        <pc:spChg chg="add del">
          <ac:chgData name="Nick Breul" userId="34de3da7-7b3c-4a46-8c9e-44d2fca28798" providerId="ADAL" clId="{C987F2ED-29FC-4172-8416-EB5170487C0A}" dt="2024-01-03T18:38:05.282" v="2083" actId="26606"/>
          <ac:spMkLst>
            <pc:docMk/>
            <pc:sldMk cId="3441643226" sldId="672"/>
            <ac:spMk id="13" creationId="{4BD02261-2DC8-4AA8-9E16-7751AE892445}"/>
          </ac:spMkLst>
        </pc:spChg>
        <pc:spChg chg="add del">
          <ac:chgData name="Nick Breul" userId="34de3da7-7b3c-4a46-8c9e-44d2fca28798" providerId="ADAL" clId="{C987F2ED-29FC-4172-8416-EB5170487C0A}" dt="2024-01-03T18:38:05.282" v="2083" actId="26606"/>
          <ac:spMkLst>
            <pc:docMk/>
            <pc:sldMk cId="3441643226" sldId="672"/>
            <ac:spMk id="15" creationId="{3D752CF2-2291-40B5-B462-C17B174C10BC}"/>
          </ac:spMkLst>
        </pc:spChg>
        <pc:spChg chg="add del">
          <ac:chgData name="Nick Breul" userId="34de3da7-7b3c-4a46-8c9e-44d2fca28798" providerId="ADAL" clId="{C987F2ED-29FC-4172-8416-EB5170487C0A}" dt="2024-01-03T18:38:28.912" v="2085" actId="26606"/>
          <ac:spMkLst>
            <pc:docMk/>
            <pc:sldMk cId="3441643226" sldId="672"/>
            <ac:spMk id="17" creationId="{73AD41DB-DF9F-49BC-85AE-6AB1840AD517}"/>
          </ac:spMkLst>
        </pc:spChg>
        <pc:spChg chg="add">
          <ac:chgData name="Nick Breul" userId="34de3da7-7b3c-4a46-8c9e-44d2fca28798" providerId="ADAL" clId="{C987F2ED-29FC-4172-8416-EB5170487C0A}" dt="2024-01-03T18:38:28.912" v="2086" actId="26606"/>
          <ac:spMkLst>
            <pc:docMk/>
            <pc:sldMk cId="3441643226" sldId="672"/>
            <ac:spMk id="21" creationId="{42A4FC2C-047E-45A5-965D-8E1E3BF09BC6}"/>
          </ac:spMkLst>
        </pc:spChg>
        <pc:grpChg chg="add del">
          <ac:chgData name="Nick Breul" userId="34de3da7-7b3c-4a46-8c9e-44d2fca28798" providerId="ADAL" clId="{C987F2ED-29FC-4172-8416-EB5170487C0A}" dt="2024-01-03T18:38:28.912" v="2085" actId="26606"/>
          <ac:grpSpMkLst>
            <pc:docMk/>
            <pc:sldMk cId="3441643226" sldId="672"/>
            <ac:grpSpMk id="18" creationId="{A4AE1828-51FD-4AD7-BCF6-9AF5C696CE5D}"/>
          </ac:grpSpMkLst>
        </pc:grpChg>
        <pc:picChg chg="add del mod">
          <ac:chgData name="Nick Breul" userId="34de3da7-7b3c-4a46-8c9e-44d2fca28798" providerId="ADAL" clId="{C987F2ED-29FC-4172-8416-EB5170487C0A}" dt="2024-01-03T18:38:37.440" v="2087" actId="478"/>
          <ac:picMkLst>
            <pc:docMk/>
            <pc:sldMk cId="3441643226" sldId="672"/>
            <ac:picMk id="6" creationId="{DFB75B01-F06E-7ECD-E70B-A1B04BD0C6D4}"/>
          </ac:picMkLst>
        </pc:picChg>
      </pc:sldChg>
      <pc:sldChg chg="addSp delSp modSp new mod ord">
        <pc:chgData name="Nick Breul" userId="34de3da7-7b3c-4a46-8c9e-44d2fca28798" providerId="ADAL" clId="{C987F2ED-29FC-4172-8416-EB5170487C0A}" dt="2024-01-03T19:18:51.256" v="3293"/>
        <pc:sldMkLst>
          <pc:docMk/>
          <pc:sldMk cId="3604566846" sldId="673"/>
        </pc:sldMkLst>
        <pc:spChg chg="mod">
          <ac:chgData name="Nick Breul" userId="34de3da7-7b3c-4a46-8c9e-44d2fca28798" providerId="ADAL" clId="{C987F2ED-29FC-4172-8416-EB5170487C0A}" dt="2024-01-03T18:40:10.486" v="2127" actId="20577"/>
          <ac:spMkLst>
            <pc:docMk/>
            <pc:sldMk cId="3604566846" sldId="673"/>
            <ac:spMk id="2" creationId="{474396DA-D0B0-EE8B-1EE0-A5EEB592DA1E}"/>
          </ac:spMkLst>
        </pc:spChg>
        <pc:spChg chg="del">
          <ac:chgData name="Nick Breul" userId="34de3da7-7b3c-4a46-8c9e-44d2fca28798" providerId="ADAL" clId="{C987F2ED-29FC-4172-8416-EB5170487C0A}" dt="2024-01-03T18:39:05.870" v="2092" actId="931"/>
          <ac:spMkLst>
            <pc:docMk/>
            <pc:sldMk cId="3604566846" sldId="673"/>
            <ac:spMk id="3" creationId="{4796AF29-C40E-6846-6F26-86F6C1F0B449}"/>
          </ac:spMkLst>
        </pc:spChg>
        <pc:spChg chg="del">
          <ac:chgData name="Nick Breul" userId="34de3da7-7b3c-4a46-8c9e-44d2fca28798" providerId="ADAL" clId="{C987F2ED-29FC-4172-8416-EB5170487C0A}" dt="2024-01-03T18:39:16.268" v="2095" actId="931"/>
          <ac:spMkLst>
            <pc:docMk/>
            <pc:sldMk cId="3604566846" sldId="673"/>
            <ac:spMk id="4" creationId="{637BA4E5-6C18-E48D-F913-82E71200BFED}"/>
          </ac:spMkLst>
        </pc:spChg>
        <pc:picChg chg="add mod">
          <ac:chgData name="Nick Breul" userId="34de3da7-7b3c-4a46-8c9e-44d2fca28798" providerId="ADAL" clId="{C987F2ED-29FC-4172-8416-EB5170487C0A}" dt="2024-01-03T18:39:57.162" v="2105" actId="14100"/>
          <ac:picMkLst>
            <pc:docMk/>
            <pc:sldMk cId="3604566846" sldId="673"/>
            <ac:picMk id="6" creationId="{10FC91C8-C2F1-3ED4-53B0-B531796F669E}"/>
          </ac:picMkLst>
        </pc:picChg>
        <pc:picChg chg="add mod">
          <ac:chgData name="Nick Breul" userId="34de3da7-7b3c-4a46-8c9e-44d2fca28798" providerId="ADAL" clId="{C987F2ED-29FC-4172-8416-EB5170487C0A}" dt="2024-01-03T18:39:50.250" v="2103" actId="14100"/>
          <ac:picMkLst>
            <pc:docMk/>
            <pc:sldMk cId="3604566846" sldId="673"/>
            <ac:picMk id="8" creationId="{348685DA-63E9-7981-7192-D2B03ADAB93B}"/>
          </ac:picMkLst>
        </pc:picChg>
      </pc:sldChg>
      <pc:sldChg chg="addSp delSp modSp new del mod setBg">
        <pc:chgData name="Nick Breul" userId="34de3da7-7b3c-4a46-8c9e-44d2fca28798" providerId="ADAL" clId="{C987F2ED-29FC-4172-8416-EB5170487C0A}" dt="2024-01-03T18:45:29.079" v="2203" actId="47"/>
        <pc:sldMkLst>
          <pc:docMk/>
          <pc:sldMk cId="2650740904" sldId="674"/>
        </pc:sldMkLst>
        <pc:spChg chg="mod">
          <ac:chgData name="Nick Breul" userId="34de3da7-7b3c-4a46-8c9e-44d2fca28798" providerId="ADAL" clId="{C987F2ED-29FC-4172-8416-EB5170487C0A}" dt="2024-01-03T18:44:16.403" v="2201" actId="26606"/>
          <ac:spMkLst>
            <pc:docMk/>
            <pc:sldMk cId="2650740904" sldId="674"/>
            <ac:spMk id="2" creationId="{A5F1338B-F3E6-59BB-862A-39ACBB750B89}"/>
          </ac:spMkLst>
        </pc:spChg>
        <pc:spChg chg="mod ord">
          <ac:chgData name="Nick Breul" userId="34de3da7-7b3c-4a46-8c9e-44d2fca28798" providerId="ADAL" clId="{C987F2ED-29FC-4172-8416-EB5170487C0A}" dt="2024-01-03T18:44:42.336" v="2202" actId="255"/>
          <ac:spMkLst>
            <pc:docMk/>
            <pc:sldMk cId="2650740904" sldId="674"/>
            <ac:spMk id="3" creationId="{D98A5F1D-4063-2934-6CC4-D33CC4D13D87}"/>
          </ac:spMkLst>
        </pc:spChg>
        <pc:spChg chg="del">
          <ac:chgData name="Nick Breul" userId="34de3da7-7b3c-4a46-8c9e-44d2fca28798" providerId="ADAL" clId="{C987F2ED-29FC-4172-8416-EB5170487C0A}" dt="2024-01-03T18:43:39.329" v="2194"/>
          <ac:spMkLst>
            <pc:docMk/>
            <pc:sldMk cId="2650740904" sldId="674"/>
            <ac:spMk id="4" creationId="{38111B1B-C260-50D6-B669-328718287790}"/>
          </ac:spMkLst>
        </pc:spChg>
        <pc:spChg chg="add del">
          <ac:chgData name="Nick Breul" userId="34de3da7-7b3c-4a46-8c9e-44d2fca28798" providerId="ADAL" clId="{C987F2ED-29FC-4172-8416-EB5170487C0A}" dt="2024-01-03T18:44:16.403" v="2201" actId="26606"/>
          <ac:spMkLst>
            <pc:docMk/>
            <pc:sldMk cId="2650740904" sldId="674"/>
            <ac:spMk id="11" creationId="{9F79630B-0F0B-446E-A637-38FA8F61D10E}"/>
          </ac:spMkLst>
        </pc:spChg>
        <pc:spChg chg="add del">
          <ac:chgData name="Nick Breul" userId="34de3da7-7b3c-4a46-8c9e-44d2fca28798" providerId="ADAL" clId="{C987F2ED-29FC-4172-8416-EB5170487C0A}" dt="2024-01-03T18:44:16.403" v="2201" actId="26606"/>
          <ac:spMkLst>
            <pc:docMk/>
            <pc:sldMk cId="2650740904" sldId="674"/>
            <ac:spMk id="13" creationId="{B3437C99-FC8E-4311-B48A-F0C4C329B154}"/>
          </ac:spMkLst>
        </pc:spChg>
        <pc:spChg chg="add del">
          <ac:chgData name="Nick Breul" userId="34de3da7-7b3c-4a46-8c9e-44d2fca28798" providerId="ADAL" clId="{C987F2ED-29FC-4172-8416-EB5170487C0A}" dt="2024-01-03T18:44:16.387" v="2200" actId="26606"/>
          <ac:spMkLst>
            <pc:docMk/>
            <pc:sldMk cId="2650740904" sldId="674"/>
            <ac:spMk id="18" creationId="{0D7B6173-1D58-48E2-83CF-37350F315F75}"/>
          </ac:spMkLst>
        </pc:spChg>
        <pc:spChg chg="add del">
          <ac:chgData name="Nick Breul" userId="34de3da7-7b3c-4a46-8c9e-44d2fca28798" providerId="ADAL" clId="{C987F2ED-29FC-4172-8416-EB5170487C0A}" dt="2024-01-03T18:44:16.387" v="2200" actId="26606"/>
          <ac:spMkLst>
            <pc:docMk/>
            <pc:sldMk cId="2650740904" sldId="674"/>
            <ac:spMk id="20" creationId="{BE149CDF-5DAC-4860-A285-9492CF2090AA}"/>
          </ac:spMkLst>
        </pc:spChg>
        <pc:spChg chg="add del">
          <ac:chgData name="Nick Breul" userId="34de3da7-7b3c-4a46-8c9e-44d2fca28798" providerId="ADAL" clId="{C987F2ED-29FC-4172-8416-EB5170487C0A}" dt="2024-01-03T18:44:16.387" v="2200" actId="26606"/>
          <ac:spMkLst>
            <pc:docMk/>
            <pc:sldMk cId="2650740904" sldId="674"/>
            <ac:spMk id="24" creationId="{21BDEC81-16A7-4451-B893-C15000083B77}"/>
          </ac:spMkLst>
        </pc:spChg>
        <pc:spChg chg="add del">
          <ac:chgData name="Nick Breul" userId="34de3da7-7b3c-4a46-8c9e-44d2fca28798" providerId="ADAL" clId="{C987F2ED-29FC-4172-8416-EB5170487C0A}" dt="2024-01-03T18:44:16.387" v="2200" actId="26606"/>
          <ac:spMkLst>
            <pc:docMk/>
            <pc:sldMk cId="2650740904" sldId="674"/>
            <ac:spMk id="26" creationId="{26A515A1-4D80-430E-BE0A-71A290516A82}"/>
          </ac:spMkLst>
        </pc:spChg>
        <pc:picChg chg="add mod">
          <ac:chgData name="Nick Breul" userId="34de3da7-7b3c-4a46-8c9e-44d2fca28798" providerId="ADAL" clId="{C987F2ED-29FC-4172-8416-EB5170487C0A}" dt="2024-01-03T18:44:16.403" v="2201" actId="26606"/>
          <ac:picMkLst>
            <pc:docMk/>
            <pc:sldMk cId="2650740904" sldId="674"/>
            <ac:picMk id="6" creationId="{CF45463A-EC48-F4CA-7210-A0287D11F793}"/>
          </ac:picMkLst>
        </pc:picChg>
        <pc:picChg chg="add del">
          <ac:chgData name="Nick Breul" userId="34de3da7-7b3c-4a46-8c9e-44d2fca28798" providerId="ADAL" clId="{C987F2ED-29FC-4172-8416-EB5170487C0A}" dt="2024-01-03T18:44:16.387" v="2200" actId="26606"/>
          <ac:picMkLst>
            <pc:docMk/>
            <pc:sldMk cId="2650740904" sldId="674"/>
            <ac:picMk id="22" creationId="{B0DAC8FB-A162-44E3-A606-C855A03A5B09}"/>
          </ac:picMkLst>
        </pc:picChg>
      </pc:sldChg>
      <pc:sldChg chg="addSp delSp modSp new mod setBg">
        <pc:chgData name="Nick Breul" userId="34de3da7-7b3c-4a46-8c9e-44d2fca28798" providerId="ADAL" clId="{C987F2ED-29FC-4172-8416-EB5170487C0A}" dt="2024-01-03T18:50:21.346" v="2571" actId="20577"/>
        <pc:sldMkLst>
          <pc:docMk/>
          <pc:sldMk cId="3121873186" sldId="674"/>
        </pc:sldMkLst>
        <pc:spChg chg="mod">
          <ac:chgData name="Nick Breul" userId="34de3da7-7b3c-4a46-8c9e-44d2fca28798" providerId="ADAL" clId="{C987F2ED-29FC-4172-8416-EB5170487C0A}" dt="2024-01-03T18:47:00.994" v="2238" actId="20577"/>
          <ac:spMkLst>
            <pc:docMk/>
            <pc:sldMk cId="3121873186" sldId="674"/>
            <ac:spMk id="2" creationId="{B74D12A7-87D5-C559-FB15-600D890A1BBF}"/>
          </ac:spMkLst>
        </pc:spChg>
        <pc:spChg chg="mod ord">
          <ac:chgData name="Nick Breul" userId="34de3da7-7b3c-4a46-8c9e-44d2fca28798" providerId="ADAL" clId="{C987F2ED-29FC-4172-8416-EB5170487C0A}" dt="2024-01-03T18:50:21.346" v="2571" actId="20577"/>
          <ac:spMkLst>
            <pc:docMk/>
            <pc:sldMk cId="3121873186" sldId="674"/>
            <ac:spMk id="3" creationId="{04A3399C-C89E-AC5E-47EF-2F922A35A975}"/>
          </ac:spMkLst>
        </pc:spChg>
        <pc:spChg chg="del">
          <ac:chgData name="Nick Breul" userId="34de3da7-7b3c-4a46-8c9e-44d2fca28798" providerId="ADAL" clId="{C987F2ED-29FC-4172-8416-EB5170487C0A}" dt="2024-01-03T18:46:20.981" v="2205" actId="931"/>
          <ac:spMkLst>
            <pc:docMk/>
            <pc:sldMk cId="3121873186" sldId="674"/>
            <ac:spMk id="4" creationId="{8698295F-0B1A-3ABB-B57D-5EF91F5632B7}"/>
          </ac:spMkLst>
        </pc:spChg>
        <pc:picChg chg="add mod">
          <ac:chgData name="Nick Breul" userId="34de3da7-7b3c-4a46-8c9e-44d2fca28798" providerId="ADAL" clId="{C987F2ED-29FC-4172-8416-EB5170487C0A}" dt="2024-01-03T18:46:29.226" v="2208" actId="26606"/>
          <ac:picMkLst>
            <pc:docMk/>
            <pc:sldMk cId="3121873186" sldId="674"/>
            <ac:picMk id="6" creationId="{AA5CC5A0-190D-D1F8-2105-4D3BA307836F}"/>
          </ac:picMkLst>
        </pc:picChg>
      </pc:sldChg>
      <pc:sldChg chg="addSp delSp modSp new mod setBg modNotesTx">
        <pc:chgData name="Nick Breul" userId="34de3da7-7b3c-4a46-8c9e-44d2fca28798" providerId="ADAL" clId="{C987F2ED-29FC-4172-8416-EB5170487C0A}" dt="2024-01-17T14:41:26.817" v="5118" actId="20577"/>
        <pc:sldMkLst>
          <pc:docMk/>
          <pc:sldMk cId="2181027704" sldId="675"/>
        </pc:sldMkLst>
        <pc:spChg chg="mod">
          <ac:chgData name="Nick Breul" userId="34de3da7-7b3c-4a46-8c9e-44d2fca28798" providerId="ADAL" clId="{C987F2ED-29FC-4172-8416-EB5170487C0A}" dt="2024-01-03T18:59:08.837" v="2967" actId="26606"/>
          <ac:spMkLst>
            <pc:docMk/>
            <pc:sldMk cId="2181027704" sldId="675"/>
            <ac:spMk id="2" creationId="{049CDDA3-CB5F-A1D2-D723-011DADF811FB}"/>
          </ac:spMkLst>
        </pc:spChg>
        <pc:spChg chg="mod">
          <ac:chgData name="Nick Breul" userId="34de3da7-7b3c-4a46-8c9e-44d2fca28798" providerId="ADAL" clId="{C987F2ED-29FC-4172-8416-EB5170487C0A}" dt="2024-01-03T19:01:19.951" v="3074" actId="20577"/>
          <ac:spMkLst>
            <pc:docMk/>
            <pc:sldMk cId="2181027704" sldId="675"/>
            <ac:spMk id="3" creationId="{E667F6C3-FA43-615F-F2A8-A5EC56E7C718}"/>
          </ac:spMkLst>
        </pc:spChg>
        <pc:spChg chg="del mod">
          <ac:chgData name="Nick Breul" userId="34de3da7-7b3c-4a46-8c9e-44d2fca28798" providerId="ADAL" clId="{C987F2ED-29FC-4172-8416-EB5170487C0A}" dt="2024-01-03T18:58:00.513" v="2950" actId="931"/>
          <ac:spMkLst>
            <pc:docMk/>
            <pc:sldMk cId="2181027704" sldId="675"/>
            <ac:spMk id="4" creationId="{E0E1E008-419F-85BF-70E5-2A34475EF298}"/>
          </ac:spMkLst>
        </pc:spChg>
        <pc:spChg chg="add del">
          <ac:chgData name="Nick Breul" userId="34de3da7-7b3c-4a46-8c9e-44d2fca28798" providerId="ADAL" clId="{C987F2ED-29FC-4172-8416-EB5170487C0A}" dt="2024-01-03T18:59:08.837" v="2967" actId="26606"/>
          <ac:spMkLst>
            <pc:docMk/>
            <pc:sldMk cId="2181027704" sldId="675"/>
            <ac:spMk id="11" creationId="{3BA513B0-82FF-4F41-8178-885375D1CFB5}"/>
          </ac:spMkLst>
        </pc:spChg>
        <pc:spChg chg="add">
          <ac:chgData name="Nick Breul" userId="34de3da7-7b3c-4a46-8c9e-44d2fca28798" providerId="ADAL" clId="{C987F2ED-29FC-4172-8416-EB5170487C0A}" dt="2024-01-03T18:59:08.837" v="2967" actId="26606"/>
          <ac:spMkLst>
            <pc:docMk/>
            <pc:sldMk cId="2181027704" sldId="675"/>
            <ac:spMk id="22" creationId="{F13C74B1-5B17-4795-BED0-7140497B445A}"/>
          </ac:spMkLst>
        </pc:spChg>
        <pc:spChg chg="add">
          <ac:chgData name="Nick Breul" userId="34de3da7-7b3c-4a46-8c9e-44d2fca28798" providerId="ADAL" clId="{C987F2ED-29FC-4172-8416-EB5170487C0A}" dt="2024-01-03T18:59:08.837" v="2967" actId="26606"/>
          <ac:spMkLst>
            <pc:docMk/>
            <pc:sldMk cId="2181027704" sldId="675"/>
            <ac:spMk id="24" creationId="{D4974D33-8DC5-464E-8C6D-BE58F0669C17}"/>
          </ac:spMkLst>
        </pc:spChg>
        <pc:grpChg chg="add del">
          <ac:chgData name="Nick Breul" userId="34de3da7-7b3c-4a46-8c9e-44d2fca28798" providerId="ADAL" clId="{C987F2ED-29FC-4172-8416-EB5170487C0A}" dt="2024-01-03T18:59:08.837" v="2967" actId="26606"/>
          <ac:grpSpMkLst>
            <pc:docMk/>
            <pc:sldMk cId="2181027704" sldId="675"/>
            <ac:grpSpMk id="13" creationId="{93DB8501-F9F2-4ACD-B56A-9019CD5006D6}"/>
          </ac:grpSpMkLst>
        </pc:grpChg>
        <pc:picChg chg="add mod ord">
          <ac:chgData name="Nick Breul" userId="34de3da7-7b3c-4a46-8c9e-44d2fca28798" providerId="ADAL" clId="{C987F2ED-29FC-4172-8416-EB5170487C0A}" dt="2024-01-03T18:59:08.837" v="2967" actId="26606"/>
          <ac:picMkLst>
            <pc:docMk/>
            <pc:sldMk cId="2181027704" sldId="675"/>
            <ac:picMk id="6" creationId="{18343B88-13A0-4F4D-0074-B9D68E7ED5ED}"/>
          </ac:picMkLst>
        </pc:picChg>
      </pc:sldChg>
      <pc:sldChg chg="addSp delSp modSp new mod setBg">
        <pc:chgData name="Nick Breul" userId="34de3da7-7b3c-4a46-8c9e-44d2fca28798" providerId="ADAL" clId="{C987F2ED-29FC-4172-8416-EB5170487C0A}" dt="2024-01-03T19:18:40.333" v="3291" actId="14100"/>
        <pc:sldMkLst>
          <pc:docMk/>
          <pc:sldMk cId="541869745" sldId="676"/>
        </pc:sldMkLst>
        <pc:spChg chg="mod">
          <ac:chgData name="Nick Breul" userId="34de3da7-7b3c-4a46-8c9e-44d2fca28798" providerId="ADAL" clId="{C987F2ED-29FC-4172-8416-EB5170487C0A}" dt="2024-01-03T19:18:10.128" v="3285" actId="26606"/>
          <ac:spMkLst>
            <pc:docMk/>
            <pc:sldMk cId="541869745" sldId="676"/>
            <ac:spMk id="2" creationId="{0830E78F-622D-7387-8489-426E27AE3D09}"/>
          </ac:spMkLst>
        </pc:spChg>
        <pc:spChg chg="mod ord">
          <ac:chgData name="Nick Breul" userId="34de3da7-7b3c-4a46-8c9e-44d2fca28798" providerId="ADAL" clId="{C987F2ED-29FC-4172-8416-EB5170487C0A}" dt="2024-01-03T19:18:30.900" v="3290" actId="14100"/>
          <ac:spMkLst>
            <pc:docMk/>
            <pc:sldMk cId="541869745" sldId="676"/>
            <ac:spMk id="3" creationId="{83B06C5A-3BB9-DC33-15A3-C77F30F67786}"/>
          </ac:spMkLst>
        </pc:spChg>
        <pc:spChg chg="del mod">
          <ac:chgData name="Nick Breul" userId="34de3da7-7b3c-4a46-8c9e-44d2fca28798" providerId="ADAL" clId="{C987F2ED-29FC-4172-8416-EB5170487C0A}" dt="2024-01-03T19:17:37.709" v="3276" actId="931"/>
          <ac:spMkLst>
            <pc:docMk/>
            <pc:sldMk cId="541869745" sldId="676"/>
            <ac:spMk id="4" creationId="{D57FEE29-6518-D5AA-B850-D57F7AC00B5D}"/>
          </ac:spMkLst>
        </pc:spChg>
        <pc:spChg chg="add del">
          <ac:chgData name="Nick Breul" userId="34de3da7-7b3c-4a46-8c9e-44d2fca28798" providerId="ADAL" clId="{C987F2ED-29FC-4172-8416-EB5170487C0A}" dt="2024-01-03T19:17:45.979" v="3280" actId="26606"/>
          <ac:spMkLst>
            <pc:docMk/>
            <pc:sldMk cId="541869745" sldId="676"/>
            <ac:spMk id="11" creationId="{A8908DB7-C3A6-4FCB-9820-CEE02B398C4A}"/>
          </ac:spMkLst>
        </pc:spChg>
        <pc:spChg chg="add del">
          <ac:chgData name="Nick Breul" userId="34de3da7-7b3c-4a46-8c9e-44d2fca28798" providerId="ADAL" clId="{C987F2ED-29FC-4172-8416-EB5170487C0A}" dt="2024-01-03T19:17:45.979" v="3280" actId="26606"/>
          <ac:spMkLst>
            <pc:docMk/>
            <pc:sldMk cId="541869745" sldId="676"/>
            <ac:spMk id="13" creationId="{535742DD-1B16-4E9D-B715-0D74B4574A68}"/>
          </ac:spMkLst>
        </pc:spChg>
        <pc:spChg chg="add del">
          <ac:chgData name="Nick Breul" userId="34de3da7-7b3c-4a46-8c9e-44d2fca28798" providerId="ADAL" clId="{C987F2ED-29FC-4172-8416-EB5170487C0A}" dt="2024-01-03T19:17:58.872" v="3282" actId="26606"/>
          <ac:spMkLst>
            <pc:docMk/>
            <pc:sldMk cId="541869745" sldId="676"/>
            <ac:spMk id="15" creationId="{E5BBB0F9-6A59-4D02-A9C7-A2D6516684CE}"/>
          </ac:spMkLst>
        </pc:spChg>
        <pc:spChg chg="add del">
          <ac:chgData name="Nick Breul" userId="34de3da7-7b3c-4a46-8c9e-44d2fca28798" providerId="ADAL" clId="{C987F2ED-29FC-4172-8416-EB5170487C0A}" dt="2024-01-03T19:17:58.872" v="3282" actId="26606"/>
          <ac:spMkLst>
            <pc:docMk/>
            <pc:sldMk cId="541869745" sldId="676"/>
            <ac:spMk id="16" creationId="{E45CA849-654C-4173-AD99-B3A2528275F5}"/>
          </ac:spMkLst>
        </pc:spChg>
        <pc:spChg chg="add del">
          <ac:chgData name="Nick Breul" userId="34de3da7-7b3c-4a46-8c9e-44d2fca28798" providerId="ADAL" clId="{C987F2ED-29FC-4172-8416-EB5170487C0A}" dt="2024-01-03T19:17:58.872" v="3282" actId="26606"/>
          <ac:spMkLst>
            <pc:docMk/>
            <pc:sldMk cId="541869745" sldId="676"/>
            <ac:spMk id="17" creationId="{3E23A947-2D45-4208-AE2B-64948C87A3EB}"/>
          </ac:spMkLst>
        </pc:spChg>
        <pc:spChg chg="add del">
          <ac:chgData name="Nick Breul" userId="34de3da7-7b3c-4a46-8c9e-44d2fca28798" providerId="ADAL" clId="{C987F2ED-29FC-4172-8416-EB5170487C0A}" dt="2024-01-03T19:18:10.128" v="3284" actId="26606"/>
          <ac:spMkLst>
            <pc:docMk/>
            <pc:sldMk cId="541869745" sldId="676"/>
            <ac:spMk id="19" creationId="{D19BB8BE-1351-4D9B-B761-F84A0B5B6519}"/>
          </ac:spMkLst>
        </pc:spChg>
        <pc:spChg chg="add">
          <ac:chgData name="Nick Breul" userId="34de3da7-7b3c-4a46-8c9e-44d2fca28798" providerId="ADAL" clId="{C987F2ED-29FC-4172-8416-EB5170487C0A}" dt="2024-01-03T19:18:10.128" v="3285" actId="26606"/>
          <ac:spMkLst>
            <pc:docMk/>
            <pc:sldMk cId="541869745" sldId="676"/>
            <ac:spMk id="21" creationId="{DC6BEC6B-5C77-412D-B45A-5B0F46FEDAC7}"/>
          </ac:spMkLst>
        </pc:spChg>
        <pc:picChg chg="add mod">
          <ac:chgData name="Nick Breul" userId="34de3da7-7b3c-4a46-8c9e-44d2fca28798" providerId="ADAL" clId="{C987F2ED-29FC-4172-8416-EB5170487C0A}" dt="2024-01-03T19:18:40.333" v="3291" actId="14100"/>
          <ac:picMkLst>
            <pc:docMk/>
            <pc:sldMk cId="541869745" sldId="676"/>
            <ac:picMk id="6" creationId="{0A151039-FB31-AE30-6138-B1DEC6F823DF}"/>
          </ac:picMkLst>
        </pc:picChg>
      </pc:sldChg>
      <pc:sldChg chg="addSp delSp modSp new mod setBg">
        <pc:chgData name="Nick Breul" userId="34de3da7-7b3c-4a46-8c9e-44d2fca28798" providerId="ADAL" clId="{C987F2ED-29FC-4172-8416-EB5170487C0A}" dt="2024-01-03T19:27:06.805" v="3450" actId="20577"/>
        <pc:sldMkLst>
          <pc:docMk/>
          <pc:sldMk cId="706809635" sldId="677"/>
        </pc:sldMkLst>
        <pc:spChg chg="mod">
          <ac:chgData name="Nick Breul" userId="34de3da7-7b3c-4a46-8c9e-44d2fca28798" providerId="ADAL" clId="{C987F2ED-29FC-4172-8416-EB5170487C0A}" dt="2024-01-03T19:26:31.425" v="3442" actId="26606"/>
          <ac:spMkLst>
            <pc:docMk/>
            <pc:sldMk cId="706809635" sldId="677"/>
            <ac:spMk id="2" creationId="{CC436F33-7688-6DB6-859D-BF7D12A47613}"/>
          </ac:spMkLst>
        </pc:spChg>
        <pc:spChg chg="mod ord">
          <ac:chgData name="Nick Breul" userId="34de3da7-7b3c-4a46-8c9e-44d2fca28798" providerId="ADAL" clId="{C987F2ED-29FC-4172-8416-EB5170487C0A}" dt="2024-01-03T19:27:06.805" v="3450" actId="20577"/>
          <ac:spMkLst>
            <pc:docMk/>
            <pc:sldMk cId="706809635" sldId="677"/>
            <ac:spMk id="3" creationId="{9638724B-6469-EE95-44A9-955BD9CBCC2E}"/>
          </ac:spMkLst>
        </pc:spChg>
        <pc:spChg chg="del">
          <ac:chgData name="Nick Breul" userId="34de3da7-7b3c-4a46-8c9e-44d2fca28798" providerId="ADAL" clId="{C987F2ED-29FC-4172-8416-EB5170487C0A}" dt="2024-01-03T19:25:23.511" v="3369" actId="931"/>
          <ac:spMkLst>
            <pc:docMk/>
            <pc:sldMk cId="706809635" sldId="677"/>
            <ac:spMk id="4" creationId="{AA873111-96FA-1254-4119-6EA6CD626C88}"/>
          </ac:spMkLst>
        </pc:spChg>
        <pc:spChg chg="add del">
          <ac:chgData name="Nick Breul" userId="34de3da7-7b3c-4a46-8c9e-44d2fca28798" providerId="ADAL" clId="{C987F2ED-29FC-4172-8416-EB5170487C0A}" dt="2024-01-03T19:26:31.425" v="3442" actId="26606"/>
          <ac:spMkLst>
            <pc:docMk/>
            <pc:sldMk cId="706809635" sldId="677"/>
            <ac:spMk id="11" creationId="{665DBBEF-238B-476B-96AB-8AAC3224ECEA}"/>
          </ac:spMkLst>
        </pc:spChg>
        <pc:spChg chg="add del">
          <ac:chgData name="Nick Breul" userId="34de3da7-7b3c-4a46-8c9e-44d2fca28798" providerId="ADAL" clId="{C987F2ED-29FC-4172-8416-EB5170487C0A}" dt="2024-01-03T19:26:31.425" v="3442" actId="26606"/>
          <ac:spMkLst>
            <pc:docMk/>
            <pc:sldMk cId="706809635" sldId="677"/>
            <ac:spMk id="13" creationId="{3FCFB1DE-0B7E-48CC-BA90-B2AB0889F9D6}"/>
          </ac:spMkLst>
        </pc:spChg>
        <pc:spChg chg="add del">
          <ac:chgData name="Nick Breul" userId="34de3da7-7b3c-4a46-8c9e-44d2fca28798" providerId="ADAL" clId="{C987F2ED-29FC-4172-8416-EB5170487C0A}" dt="2024-01-03T19:26:31.425" v="3441" actId="26606"/>
          <ac:spMkLst>
            <pc:docMk/>
            <pc:sldMk cId="706809635" sldId="677"/>
            <ac:spMk id="18" creationId="{2B97F24A-32CE-4C1C-A50D-3016B394DCFB}"/>
          </ac:spMkLst>
        </pc:spChg>
        <pc:spChg chg="add del">
          <ac:chgData name="Nick Breul" userId="34de3da7-7b3c-4a46-8c9e-44d2fca28798" providerId="ADAL" clId="{C987F2ED-29FC-4172-8416-EB5170487C0A}" dt="2024-01-03T19:26:31.425" v="3441" actId="26606"/>
          <ac:spMkLst>
            <pc:docMk/>
            <pc:sldMk cId="706809635" sldId="677"/>
            <ac:spMk id="20" creationId="{6357EC4F-235E-4222-A36F-C7878ACE37F2}"/>
          </ac:spMkLst>
        </pc:spChg>
        <pc:picChg chg="add mod">
          <ac:chgData name="Nick Breul" userId="34de3da7-7b3c-4a46-8c9e-44d2fca28798" providerId="ADAL" clId="{C987F2ED-29FC-4172-8416-EB5170487C0A}" dt="2024-01-03T19:26:31.425" v="3442" actId="26606"/>
          <ac:picMkLst>
            <pc:docMk/>
            <pc:sldMk cId="706809635" sldId="677"/>
            <ac:picMk id="6" creationId="{D25EB96E-862F-D0E5-2444-922134A9E8AA}"/>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Eleven Year Comparison</a:t>
            </a:r>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B$2:$B$12</c:f>
              <c:numCache>
                <c:formatCode>General</c:formatCode>
                <c:ptCount val="11"/>
                <c:pt idx="0">
                  <c:v>27</c:v>
                </c:pt>
                <c:pt idx="1">
                  <c:v>29</c:v>
                </c:pt>
                <c:pt idx="2">
                  <c:v>34</c:v>
                </c:pt>
                <c:pt idx="3">
                  <c:v>36</c:v>
                </c:pt>
                <c:pt idx="4">
                  <c:v>28</c:v>
                </c:pt>
                <c:pt idx="5">
                  <c:v>32</c:v>
                </c:pt>
                <c:pt idx="6">
                  <c:v>30</c:v>
                </c:pt>
                <c:pt idx="7">
                  <c:v>25</c:v>
                </c:pt>
                <c:pt idx="8">
                  <c:v>26</c:v>
                </c:pt>
                <c:pt idx="9">
                  <c:v>28</c:v>
                </c:pt>
                <c:pt idx="10">
                  <c:v>31</c:v>
                </c:pt>
              </c:numCache>
            </c:numRef>
          </c:val>
          <c:extLst>
            <c:ext xmlns:c16="http://schemas.microsoft.com/office/drawing/2014/chart" uri="{C3380CC4-5D6E-409C-BE32-E72D297353CC}">
              <c16:uniqueId val="{00000000-3992-4BAA-99B8-1AEBE7227061}"/>
            </c:ext>
          </c:extLst>
        </c:ser>
        <c:ser>
          <c:idx val="1"/>
          <c:order val="1"/>
          <c:tx>
            <c:strRef>
              <c:f>Sheet1!$C$1</c:f>
              <c:strCache>
                <c:ptCount val="1"/>
                <c:pt idx="0">
                  <c:v>Column1</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C$2:$C$12</c:f>
              <c:numCache>
                <c:formatCode>General</c:formatCode>
                <c:ptCount val="11"/>
              </c:numCache>
            </c:numRef>
          </c:val>
          <c:extLst>
            <c:ext xmlns:c16="http://schemas.microsoft.com/office/drawing/2014/chart" uri="{C3380CC4-5D6E-409C-BE32-E72D297353CC}">
              <c16:uniqueId val="{00000001-3992-4BAA-99B8-1AEBE7227061}"/>
            </c:ext>
          </c:extLst>
        </c:ser>
        <c:ser>
          <c:idx val="2"/>
          <c:order val="2"/>
          <c:tx>
            <c:strRef>
              <c:f>Sheet1!$D$1</c:f>
              <c:strCache>
                <c:ptCount val="1"/>
                <c:pt idx="0">
                  <c:v>Column2</c:v>
                </c:pt>
              </c:strCache>
            </c:strRef>
          </c:tx>
          <c:spPr>
            <a:solidFill>
              <a:schemeClr val="accent3">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D$2:$D$12</c:f>
              <c:numCache>
                <c:formatCode>General</c:formatCode>
                <c:ptCount val="11"/>
              </c:numCache>
            </c:numRef>
          </c:val>
          <c:extLst>
            <c:ext xmlns:c16="http://schemas.microsoft.com/office/drawing/2014/chart" uri="{C3380CC4-5D6E-409C-BE32-E72D297353CC}">
              <c16:uniqueId val="{00000002-3992-4BAA-99B8-1AEBE7227061}"/>
            </c:ext>
          </c:extLst>
        </c:ser>
        <c:dLbls>
          <c:dLblPos val="inEnd"/>
          <c:showLegendKey val="0"/>
          <c:showVal val="1"/>
          <c:showCatName val="0"/>
          <c:showSerName val="0"/>
          <c:showPercent val="0"/>
          <c:showBubbleSize val="0"/>
        </c:dLbls>
        <c:gapWidth val="65"/>
        <c:axId val="1356877104"/>
        <c:axId val="1968532640"/>
      </c:barChart>
      <c:catAx>
        <c:axId val="1356877104"/>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en-US"/>
          </a:p>
        </c:txPr>
        <c:crossAx val="1968532640"/>
        <c:crosses val="autoZero"/>
        <c:auto val="1"/>
        <c:lblAlgn val="ctr"/>
        <c:lblOffset val="100"/>
        <c:noMultiLvlLbl val="0"/>
      </c:catAx>
      <c:valAx>
        <c:axId val="1968532640"/>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13568771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9244-4D87-A873-ADBF15AACD05}"/>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9244-4D87-A873-ADBF15AACD05}"/>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9244-4D87-A873-ADBF15AACD05}"/>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9244-4D87-A873-ADBF15AACD05}"/>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5</c:f>
              <c:strCache>
                <c:ptCount val="3"/>
                <c:pt idx="0">
                  <c:v>Belted</c:v>
                </c:pt>
                <c:pt idx="1">
                  <c:v>unbelted</c:v>
                </c:pt>
                <c:pt idx="2">
                  <c:v>unknown </c:v>
                </c:pt>
              </c:strCache>
            </c:strRef>
          </c:cat>
          <c:val>
            <c:numRef>
              <c:f>Sheet1!$B$2:$B$5</c:f>
              <c:numCache>
                <c:formatCode>General</c:formatCode>
                <c:ptCount val="4"/>
                <c:pt idx="0">
                  <c:v>8</c:v>
                </c:pt>
                <c:pt idx="1">
                  <c:v>10</c:v>
                </c:pt>
                <c:pt idx="2">
                  <c:v>5</c:v>
                </c:pt>
              </c:numCache>
            </c:numRef>
          </c:val>
          <c:extLst>
            <c:ext xmlns:c16="http://schemas.microsoft.com/office/drawing/2014/chart" uri="{C3380CC4-5D6E-409C-BE32-E72D297353CC}">
              <c16:uniqueId val="{00000000-C5D9-4A7F-955B-F4A2DB227135}"/>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egendEntry>
        <c:idx val="2"/>
        <c:delete val="1"/>
      </c:legendEntry>
      <c:legendEntry>
        <c:idx val="3"/>
        <c:delete val="1"/>
      </c:legendEntry>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2019-2023</a:t>
            </a:r>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Series 1</c:v>
                </c:pt>
              </c:strCache>
            </c:strRef>
          </c:tx>
          <c:spPr>
            <a:ln w="31750" cap="rnd">
              <a:solidFill>
                <a:schemeClr val="accent1"/>
              </a:solidFill>
              <a:round/>
            </a:ln>
            <a:effectLst/>
          </c:spPr>
          <c:marker>
            <c:symbol val="circle"/>
            <c:size val="17"/>
            <c:spPr>
              <a:solidFill>
                <a:schemeClr val="accent1"/>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B$2:$B$6</c:f>
              <c:numCache>
                <c:formatCode>General</c:formatCode>
                <c:ptCount val="5"/>
                <c:pt idx="0">
                  <c:v>19</c:v>
                </c:pt>
                <c:pt idx="1">
                  <c:v>16</c:v>
                </c:pt>
                <c:pt idx="2">
                  <c:v>27</c:v>
                </c:pt>
                <c:pt idx="3">
                  <c:v>15</c:v>
                </c:pt>
                <c:pt idx="4">
                  <c:v>10</c:v>
                </c:pt>
              </c:numCache>
            </c:numRef>
          </c:val>
          <c:smooth val="0"/>
          <c:extLst>
            <c:ext xmlns:c16="http://schemas.microsoft.com/office/drawing/2014/chart" uri="{C3380CC4-5D6E-409C-BE32-E72D297353CC}">
              <c16:uniqueId val="{00000000-1770-4AAB-972E-90E6A458E680}"/>
            </c:ext>
          </c:extLst>
        </c:ser>
        <c:ser>
          <c:idx val="1"/>
          <c:order val="1"/>
          <c:tx>
            <c:strRef>
              <c:f>Sheet1!$C$1</c:f>
              <c:strCache>
                <c:ptCount val="1"/>
                <c:pt idx="0">
                  <c:v>Column1</c:v>
                </c:pt>
              </c:strCache>
            </c:strRef>
          </c:tx>
          <c:spPr>
            <a:ln w="31750" cap="rnd">
              <a:solidFill>
                <a:schemeClr val="accent2"/>
              </a:solidFill>
              <a:round/>
            </a:ln>
            <a:effectLst/>
          </c:spPr>
          <c:marker>
            <c:symbol val="circle"/>
            <c:size val="17"/>
            <c:spPr>
              <a:solidFill>
                <a:schemeClr val="accent2"/>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C$2:$C$6</c:f>
              <c:numCache>
                <c:formatCode>General</c:formatCode>
                <c:ptCount val="5"/>
              </c:numCache>
            </c:numRef>
          </c:val>
          <c:smooth val="0"/>
          <c:extLst>
            <c:ext xmlns:c16="http://schemas.microsoft.com/office/drawing/2014/chart" uri="{C3380CC4-5D6E-409C-BE32-E72D297353CC}">
              <c16:uniqueId val="{00000001-1770-4AAB-972E-90E6A458E680}"/>
            </c:ext>
          </c:extLst>
        </c:ser>
        <c:ser>
          <c:idx val="2"/>
          <c:order val="2"/>
          <c:tx>
            <c:strRef>
              <c:f>Sheet1!$D$1</c:f>
              <c:strCache>
                <c:ptCount val="1"/>
                <c:pt idx="0">
                  <c:v>Column2</c:v>
                </c:pt>
              </c:strCache>
            </c:strRef>
          </c:tx>
          <c:spPr>
            <a:ln w="31750" cap="rnd">
              <a:solidFill>
                <a:schemeClr val="accent3"/>
              </a:solidFill>
              <a:round/>
            </a:ln>
            <a:effectLst/>
          </c:spPr>
          <c:marker>
            <c:symbol val="circle"/>
            <c:size val="17"/>
            <c:spPr>
              <a:solidFill>
                <a:schemeClr val="accent3"/>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D$2:$D$6</c:f>
              <c:numCache>
                <c:formatCode>General</c:formatCode>
                <c:ptCount val="5"/>
              </c:numCache>
            </c:numRef>
          </c:val>
          <c:smooth val="0"/>
          <c:extLst>
            <c:ext xmlns:c16="http://schemas.microsoft.com/office/drawing/2014/chart" uri="{C3380CC4-5D6E-409C-BE32-E72D297353CC}">
              <c16:uniqueId val="{00000002-1770-4AAB-972E-90E6A458E680}"/>
            </c:ext>
          </c:extLst>
        </c:ser>
        <c:dLbls>
          <c:dLblPos val="ctr"/>
          <c:showLegendKey val="0"/>
          <c:showVal val="1"/>
          <c:showCatName val="0"/>
          <c:showSerName val="0"/>
          <c:showPercent val="0"/>
          <c:showBubbleSize val="0"/>
        </c:dLbls>
        <c:marker val="1"/>
        <c:smooth val="0"/>
        <c:axId val="2081544592"/>
        <c:axId val="1269939775"/>
      </c:lineChart>
      <c:catAx>
        <c:axId val="2081544592"/>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600" b="0" i="0" u="none" strike="noStrike" kern="1200" cap="all" baseline="0">
                <a:solidFill>
                  <a:schemeClr val="dk1">
                    <a:lumMod val="75000"/>
                    <a:lumOff val="25000"/>
                  </a:schemeClr>
                </a:solidFill>
                <a:latin typeface="+mn-lt"/>
                <a:ea typeface="+mn-ea"/>
                <a:cs typeface="+mn-cs"/>
              </a:defRPr>
            </a:pPr>
            <a:endParaRPr lang="en-US"/>
          </a:p>
        </c:txPr>
        <c:crossAx val="1269939775"/>
        <c:crosses val="autoZero"/>
        <c:auto val="1"/>
        <c:lblAlgn val="ctr"/>
        <c:lblOffset val="100"/>
        <c:noMultiLvlLbl val="0"/>
      </c:catAx>
      <c:valAx>
        <c:axId val="1269939775"/>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2081544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styleClr val="auto"/>
    </cs:fillRef>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BA3B8D-CE3A-4DF6-8E11-B272341FC831}" type="doc">
      <dgm:prSet loTypeId="urn:microsoft.com/office/officeart/2018/5/layout/CenteredIconLabelDescriptionList" loCatId="icon" qsTypeId="urn:microsoft.com/office/officeart/2005/8/quickstyle/simple1" qsCatId="simple" csTypeId="urn:microsoft.com/office/officeart/2018/5/colors/Iconchunking_neutralbg_accent1_2" csCatId="accent1" phldr="1"/>
      <dgm:spPr/>
      <dgm:t>
        <a:bodyPr/>
        <a:lstStyle/>
        <a:p>
          <a:endParaRPr lang="en-US"/>
        </a:p>
      </dgm:t>
    </dgm:pt>
    <dgm:pt modelId="{CABBB9B6-E968-431F-A54E-FDF974280007}">
      <dgm:prSet/>
      <dgm:spPr/>
      <dgm:t>
        <a:bodyPr/>
        <a:lstStyle/>
        <a:p>
          <a:pPr>
            <a:defRPr b="1"/>
          </a:pPr>
          <a:r>
            <a:rPr lang="en-US" b="1" dirty="0"/>
            <a:t>22 </a:t>
          </a:r>
          <a:r>
            <a:rPr lang="en-US" dirty="0"/>
            <a:t>Automobile Crashes</a:t>
          </a:r>
        </a:p>
      </dgm:t>
    </dgm:pt>
    <dgm:pt modelId="{B66971BF-6E66-4F5D-90A7-AA93F9A39F0F}" type="parTrans" cxnId="{9B4CAE60-83D8-48D6-A9DA-177ECD8603C0}">
      <dgm:prSet/>
      <dgm:spPr/>
      <dgm:t>
        <a:bodyPr/>
        <a:lstStyle/>
        <a:p>
          <a:endParaRPr lang="en-US"/>
        </a:p>
      </dgm:t>
    </dgm:pt>
    <dgm:pt modelId="{1E542401-2140-4FE1-BA1C-216FA99DF513}" type="sibTrans" cxnId="{9B4CAE60-83D8-48D6-A9DA-177ECD8603C0}">
      <dgm:prSet/>
      <dgm:spPr/>
      <dgm:t>
        <a:bodyPr/>
        <a:lstStyle/>
        <a:p>
          <a:endParaRPr lang="en-US"/>
        </a:p>
      </dgm:t>
    </dgm:pt>
    <dgm:pt modelId="{005D5D7B-A0CD-4E8A-8F22-66D23BC72698}">
      <dgm:prSet/>
      <dgm:spPr/>
      <dgm:t>
        <a:bodyPr/>
        <a:lstStyle/>
        <a:p>
          <a:r>
            <a:rPr lang="en-US" dirty="0"/>
            <a:t>5 of those were Single Vehicle Crashes</a:t>
          </a:r>
        </a:p>
      </dgm:t>
    </dgm:pt>
    <dgm:pt modelId="{182E4E51-437B-44DA-B371-E30B8A00FC60}" type="parTrans" cxnId="{E2494A59-ED73-47E9-BA47-5AE42E31BFBA}">
      <dgm:prSet/>
      <dgm:spPr/>
      <dgm:t>
        <a:bodyPr/>
        <a:lstStyle/>
        <a:p>
          <a:endParaRPr lang="en-US"/>
        </a:p>
      </dgm:t>
    </dgm:pt>
    <dgm:pt modelId="{5F4BECFC-B232-469F-B926-4498EC0D7457}" type="sibTrans" cxnId="{E2494A59-ED73-47E9-BA47-5AE42E31BFBA}">
      <dgm:prSet/>
      <dgm:spPr/>
      <dgm:t>
        <a:bodyPr/>
        <a:lstStyle/>
        <a:p>
          <a:endParaRPr lang="en-US"/>
        </a:p>
      </dgm:t>
    </dgm:pt>
    <dgm:pt modelId="{EF7E94B9-F9FE-4B76-A183-F34581129A08}">
      <dgm:prSet/>
      <dgm:spPr/>
      <dgm:t>
        <a:bodyPr/>
        <a:lstStyle/>
        <a:p>
          <a:pPr>
            <a:defRPr b="1"/>
          </a:pPr>
          <a:r>
            <a:rPr lang="en-US" b="1"/>
            <a:t>10</a:t>
          </a:r>
          <a:r>
            <a:rPr lang="en-US"/>
            <a:t> Struck-by crashes</a:t>
          </a:r>
        </a:p>
      </dgm:t>
    </dgm:pt>
    <dgm:pt modelId="{D7A93E6B-536A-4CB5-9CC3-76A8F1CF18B7}" type="parTrans" cxnId="{29830014-EFBB-4873-9FE6-098418458E1A}">
      <dgm:prSet/>
      <dgm:spPr/>
      <dgm:t>
        <a:bodyPr/>
        <a:lstStyle/>
        <a:p>
          <a:endParaRPr lang="en-US"/>
        </a:p>
      </dgm:t>
    </dgm:pt>
    <dgm:pt modelId="{45C24F0A-0595-4598-9697-B09772FCC562}" type="sibTrans" cxnId="{29830014-EFBB-4873-9FE6-098418458E1A}">
      <dgm:prSet/>
      <dgm:spPr/>
      <dgm:t>
        <a:bodyPr/>
        <a:lstStyle/>
        <a:p>
          <a:endParaRPr lang="en-US"/>
        </a:p>
      </dgm:t>
    </dgm:pt>
    <dgm:pt modelId="{BB87711C-A658-4B1A-82E4-8EDE38794331}">
      <dgm:prSet/>
      <dgm:spPr/>
      <dgm:t>
        <a:bodyPr/>
        <a:lstStyle/>
        <a:p>
          <a:pPr>
            <a:defRPr b="1"/>
          </a:pPr>
          <a:r>
            <a:rPr lang="en-US" dirty="0"/>
            <a:t>5 Motorcycles Crashes</a:t>
          </a:r>
        </a:p>
      </dgm:t>
    </dgm:pt>
    <dgm:pt modelId="{D7CBE54B-18BE-4C03-B8AD-A0C0AFD86165}" type="parTrans" cxnId="{240C1896-DEC7-4026-9202-F9D18859145C}">
      <dgm:prSet/>
      <dgm:spPr/>
      <dgm:t>
        <a:bodyPr/>
        <a:lstStyle/>
        <a:p>
          <a:endParaRPr lang="en-US"/>
        </a:p>
      </dgm:t>
    </dgm:pt>
    <dgm:pt modelId="{DB5711B3-E95A-4A67-B89C-B6C702704D0B}" type="sibTrans" cxnId="{240C1896-DEC7-4026-9202-F9D18859145C}">
      <dgm:prSet/>
      <dgm:spPr/>
      <dgm:t>
        <a:bodyPr/>
        <a:lstStyle/>
        <a:p>
          <a:endParaRPr lang="en-US"/>
        </a:p>
      </dgm:t>
    </dgm:pt>
    <dgm:pt modelId="{8303B556-A0A1-497B-8731-808FB884708C}">
      <dgm:prSet/>
      <dgm:spPr/>
      <dgm:t>
        <a:bodyPr/>
        <a:lstStyle/>
        <a:p>
          <a:r>
            <a:rPr lang="en-US" dirty="0"/>
            <a:t>3 of those were Single Vehicle Crashes</a:t>
          </a:r>
        </a:p>
      </dgm:t>
    </dgm:pt>
    <dgm:pt modelId="{80C824A1-DCF6-4A67-90E9-359779C8B88A}" type="parTrans" cxnId="{4DA68D72-C674-4DD0-B5D1-1E40E0233583}">
      <dgm:prSet/>
      <dgm:spPr/>
      <dgm:t>
        <a:bodyPr/>
        <a:lstStyle/>
        <a:p>
          <a:endParaRPr lang="en-US"/>
        </a:p>
      </dgm:t>
    </dgm:pt>
    <dgm:pt modelId="{07EA9611-0AF4-4607-A273-D7C935AB5E11}" type="sibTrans" cxnId="{4DA68D72-C674-4DD0-B5D1-1E40E0233583}">
      <dgm:prSet/>
      <dgm:spPr/>
      <dgm:t>
        <a:bodyPr/>
        <a:lstStyle/>
        <a:p>
          <a:endParaRPr lang="en-US"/>
        </a:p>
      </dgm:t>
    </dgm:pt>
    <dgm:pt modelId="{896538D6-D400-45A0-9EC8-E5781570EDA0}" type="pres">
      <dgm:prSet presAssocID="{8FBA3B8D-CE3A-4DF6-8E11-B272341FC831}" presName="root" presStyleCnt="0">
        <dgm:presLayoutVars>
          <dgm:dir/>
          <dgm:resizeHandles val="exact"/>
        </dgm:presLayoutVars>
      </dgm:prSet>
      <dgm:spPr/>
    </dgm:pt>
    <dgm:pt modelId="{EC040C5B-821D-46BC-92FF-74005DD0D25B}" type="pres">
      <dgm:prSet presAssocID="{CABBB9B6-E968-431F-A54E-FDF974280007}" presName="compNode" presStyleCnt="0"/>
      <dgm:spPr/>
    </dgm:pt>
    <dgm:pt modelId="{DDD1D7C2-30A5-4111-8175-192D7268DEB3}" type="pres">
      <dgm:prSet presAssocID="{CABBB9B6-E968-431F-A54E-FDF97428000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r"/>
        </a:ext>
      </dgm:extLst>
    </dgm:pt>
    <dgm:pt modelId="{C52D7BD3-CCF7-4A07-AB5F-7169DC1B4C5D}" type="pres">
      <dgm:prSet presAssocID="{CABBB9B6-E968-431F-A54E-FDF974280007}" presName="iconSpace" presStyleCnt="0"/>
      <dgm:spPr/>
    </dgm:pt>
    <dgm:pt modelId="{122B1435-87FB-4229-B93B-C10A553627E4}" type="pres">
      <dgm:prSet presAssocID="{CABBB9B6-E968-431F-A54E-FDF974280007}" presName="parTx" presStyleLbl="revTx" presStyleIdx="0" presStyleCnt="6">
        <dgm:presLayoutVars>
          <dgm:chMax val="0"/>
          <dgm:chPref val="0"/>
        </dgm:presLayoutVars>
      </dgm:prSet>
      <dgm:spPr/>
    </dgm:pt>
    <dgm:pt modelId="{E0BE2532-3EE2-410B-88C9-EDE9A10BE398}" type="pres">
      <dgm:prSet presAssocID="{CABBB9B6-E968-431F-A54E-FDF974280007}" presName="txSpace" presStyleCnt="0"/>
      <dgm:spPr/>
    </dgm:pt>
    <dgm:pt modelId="{4065F4BD-4492-4940-9D51-E1437C6CE495}" type="pres">
      <dgm:prSet presAssocID="{CABBB9B6-E968-431F-A54E-FDF974280007}" presName="desTx" presStyleLbl="revTx" presStyleIdx="1" presStyleCnt="6">
        <dgm:presLayoutVars/>
      </dgm:prSet>
      <dgm:spPr/>
    </dgm:pt>
    <dgm:pt modelId="{A6ABDA11-C2B0-4FF3-9A71-59930060AD41}" type="pres">
      <dgm:prSet presAssocID="{1E542401-2140-4FE1-BA1C-216FA99DF513}" presName="sibTrans" presStyleCnt="0"/>
      <dgm:spPr/>
    </dgm:pt>
    <dgm:pt modelId="{FB89A3BD-2C1D-4C1C-94CD-C0C04CCEEAC9}" type="pres">
      <dgm:prSet presAssocID="{EF7E94B9-F9FE-4B76-A183-F34581129A08}" presName="compNode" presStyleCnt="0"/>
      <dgm:spPr/>
    </dgm:pt>
    <dgm:pt modelId="{74422BC4-9780-46A7-9254-B1F403C01868}" type="pres">
      <dgm:prSet presAssocID="{EF7E94B9-F9FE-4B76-A183-F34581129A0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ightning bolt"/>
        </a:ext>
      </dgm:extLst>
    </dgm:pt>
    <dgm:pt modelId="{E8DFA870-B470-4B5A-A86D-2DD2E7A06687}" type="pres">
      <dgm:prSet presAssocID="{EF7E94B9-F9FE-4B76-A183-F34581129A08}" presName="iconSpace" presStyleCnt="0"/>
      <dgm:spPr/>
    </dgm:pt>
    <dgm:pt modelId="{4E21B4C4-A4B3-40B2-ADB5-F828FDDF398F}" type="pres">
      <dgm:prSet presAssocID="{EF7E94B9-F9FE-4B76-A183-F34581129A08}" presName="parTx" presStyleLbl="revTx" presStyleIdx="2" presStyleCnt="6">
        <dgm:presLayoutVars>
          <dgm:chMax val="0"/>
          <dgm:chPref val="0"/>
        </dgm:presLayoutVars>
      </dgm:prSet>
      <dgm:spPr/>
    </dgm:pt>
    <dgm:pt modelId="{3C2417EB-B430-4D5A-8C8D-7BDF4F90C2A5}" type="pres">
      <dgm:prSet presAssocID="{EF7E94B9-F9FE-4B76-A183-F34581129A08}" presName="txSpace" presStyleCnt="0"/>
      <dgm:spPr/>
    </dgm:pt>
    <dgm:pt modelId="{DD1BBC51-1125-4DAA-85E3-B2C9777BA315}" type="pres">
      <dgm:prSet presAssocID="{EF7E94B9-F9FE-4B76-A183-F34581129A08}" presName="desTx" presStyleLbl="revTx" presStyleIdx="3" presStyleCnt="6">
        <dgm:presLayoutVars/>
      </dgm:prSet>
      <dgm:spPr/>
    </dgm:pt>
    <dgm:pt modelId="{8BED5970-D5FD-4C6B-9D7C-A1C6AB7C0C03}" type="pres">
      <dgm:prSet presAssocID="{45C24F0A-0595-4598-9697-B09772FCC562}" presName="sibTrans" presStyleCnt="0"/>
      <dgm:spPr/>
    </dgm:pt>
    <dgm:pt modelId="{F111D523-7DD4-41CA-A6E4-10D10E76359D}" type="pres">
      <dgm:prSet presAssocID="{BB87711C-A658-4B1A-82E4-8EDE38794331}" presName="compNode" presStyleCnt="0"/>
      <dgm:spPr/>
    </dgm:pt>
    <dgm:pt modelId="{CF87583E-C7BB-4EE1-9E61-7C352A0BDA85}" type="pres">
      <dgm:prSet presAssocID="{BB87711C-A658-4B1A-82E4-8EDE38794331}"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torcycle"/>
        </a:ext>
      </dgm:extLst>
    </dgm:pt>
    <dgm:pt modelId="{FF963771-1722-49E5-985B-CB962BBB780E}" type="pres">
      <dgm:prSet presAssocID="{BB87711C-A658-4B1A-82E4-8EDE38794331}" presName="iconSpace" presStyleCnt="0"/>
      <dgm:spPr/>
    </dgm:pt>
    <dgm:pt modelId="{030E3E9C-96A8-4A11-9500-405B19A9E8F5}" type="pres">
      <dgm:prSet presAssocID="{BB87711C-A658-4B1A-82E4-8EDE38794331}" presName="parTx" presStyleLbl="revTx" presStyleIdx="4" presStyleCnt="6">
        <dgm:presLayoutVars>
          <dgm:chMax val="0"/>
          <dgm:chPref val="0"/>
        </dgm:presLayoutVars>
      </dgm:prSet>
      <dgm:spPr/>
    </dgm:pt>
    <dgm:pt modelId="{FDDA2A0D-068C-4B2F-B30B-1C0DB863B966}" type="pres">
      <dgm:prSet presAssocID="{BB87711C-A658-4B1A-82E4-8EDE38794331}" presName="txSpace" presStyleCnt="0"/>
      <dgm:spPr/>
    </dgm:pt>
    <dgm:pt modelId="{4E008088-D1AF-405F-84AD-E747B154F1A3}" type="pres">
      <dgm:prSet presAssocID="{BB87711C-A658-4B1A-82E4-8EDE38794331}" presName="desTx" presStyleLbl="revTx" presStyleIdx="5" presStyleCnt="6">
        <dgm:presLayoutVars/>
      </dgm:prSet>
      <dgm:spPr/>
    </dgm:pt>
  </dgm:ptLst>
  <dgm:cxnLst>
    <dgm:cxn modelId="{29830014-EFBB-4873-9FE6-098418458E1A}" srcId="{8FBA3B8D-CE3A-4DF6-8E11-B272341FC831}" destId="{EF7E94B9-F9FE-4B76-A183-F34581129A08}" srcOrd="1" destOrd="0" parTransId="{D7A93E6B-536A-4CB5-9CC3-76A8F1CF18B7}" sibTransId="{45C24F0A-0595-4598-9697-B09772FCC562}"/>
    <dgm:cxn modelId="{9B4CAE60-83D8-48D6-A9DA-177ECD8603C0}" srcId="{8FBA3B8D-CE3A-4DF6-8E11-B272341FC831}" destId="{CABBB9B6-E968-431F-A54E-FDF974280007}" srcOrd="0" destOrd="0" parTransId="{B66971BF-6E66-4F5D-90A7-AA93F9A39F0F}" sibTransId="{1E542401-2140-4FE1-BA1C-216FA99DF513}"/>
    <dgm:cxn modelId="{4C956B41-A939-477C-8363-C7A14150203C}" type="presOf" srcId="{BB87711C-A658-4B1A-82E4-8EDE38794331}" destId="{030E3E9C-96A8-4A11-9500-405B19A9E8F5}" srcOrd="0" destOrd="0" presId="urn:microsoft.com/office/officeart/2018/5/layout/CenteredIconLabelDescriptionList"/>
    <dgm:cxn modelId="{6D2EDB41-5659-4C45-933E-85B04B537861}" type="presOf" srcId="{8303B556-A0A1-497B-8731-808FB884708C}" destId="{4E008088-D1AF-405F-84AD-E747B154F1A3}" srcOrd="0" destOrd="0" presId="urn:microsoft.com/office/officeart/2018/5/layout/CenteredIconLabelDescriptionList"/>
    <dgm:cxn modelId="{5C3EC36A-AE3B-4EC8-ADA1-67EC9FED848A}" type="presOf" srcId="{EF7E94B9-F9FE-4B76-A183-F34581129A08}" destId="{4E21B4C4-A4B3-40B2-ADB5-F828FDDF398F}" srcOrd="0" destOrd="0" presId="urn:microsoft.com/office/officeart/2018/5/layout/CenteredIconLabelDescriptionList"/>
    <dgm:cxn modelId="{4DA68D72-C674-4DD0-B5D1-1E40E0233583}" srcId="{BB87711C-A658-4B1A-82E4-8EDE38794331}" destId="{8303B556-A0A1-497B-8731-808FB884708C}" srcOrd="0" destOrd="0" parTransId="{80C824A1-DCF6-4A67-90E9-359779C8B88A}" sibTransId="{07EA9611-0AF4-4607-A273-D7C935AB5E11}"/>
    <dgm:cxn modelId="{F9F63E56-D57D-442A-8A60-137A8B980589}" type="presOf" srcId="{005D5D7B-A0CD-4E8A-8F22-66D23BC72698}" destId="{4065F4BD-4492-4940-9D51-E1437C6CE495}" srcOrd="0" destOrd="0" presId="urn:microsoft.com/office/officeart/2018/5/layout/CenteredIconLabelDescriptionList"/>
    <dgm:cxn modelId="{E2494A59-ED73-47E9-BA47-5AE42E31BFBA}" srcId="{CABBB9B6-E968-431F-A54E-FDF974280007}" destId="{005D5D7B-A0CD-4E8A-8F22-66D23BC72698}" srcOrd="0" destOrd="0" parTransId="{182E4E51-437B-44DA-B371-E30B8A00FC60}" sibTransId="{5F4BECFC-B232-469F-B926-4498EC0D7457}"/>
    <dgm:cxn modelId="{9C6B457E-1FDE-4C85-996C-B202325F5C22}" type="presOf" srcId="{8FBA3B8D-CE3A-4DF6-8E11-B272341FC831}" destId="{896538D6-D400-45A0-9EC8-E5781570EDA0}" srcOrd="0" destOrd="0" presId="urn:microsoft.com/office/officeart/2018/5/layout/CenteredIconLabelDescriptionList"/>
    <dgm:cxn modelId="{240C1896-DEC7-4026-9202-F9D18859145C}" srcId="{8FBA3B8D-CE3A-4DF6-8E11-B272341FC831}" destId="{BB87711C-A658-4B1A-82E4-8EDE38794331}" srcOrd="2" destOrd="0" parTransId="{D7CBE54B-18BE-4C03-B8AD-A0C0AFD86165}" sibTransId="{DB5711B3-E95A-4A67-B89C-B6C702704D0B}"/>
    <dgm:cxn modelId="{3CE066F0-FD8C-489A-BF3C-0F9A07625832}" type="presOf" srcId="{CABBB9B6-E968-431F-A54E-FDF974280007}" destId="{122B1435-87FB-4229-B93B-C10A553627E4}" srcOrd="0" destOrd="0" presId="urn:microsoft.com/office/officeart/2018/5/layout/CenteredIconLabelDescriptionList"/>
    <dgm:cxn modelId="{D428DA3F-49EA-4D22-B92F-73DA741A6BAA}" type="presParOf" srcId="{896538D6-D400-45A0-9EC8-E5781570EDA0}" destId="{EC040C5B-821D-46BC-92FF-74005DD0D25B}" srcOrd="0" destOrd="0" presId="urn:microsoft.com/office/officeart/2018/5/layout/CenteredIconLabelDescriptionList"/>
    <dgm:cxn modelId="{AD204FE7-0D65-42BC-A1F0-1867B34418C4}" type="presParOf" srcId="{EC040C5B-821D-46BC-92FF-74005DD0D25B}" destId="{DDD1D7C2-30A5-4111-8175-192D7268DEB3}" srcOrd="0" destOrd="0" presId="urn:microsoft.com/office/officeart/2018/5/layout/CenteredIconLabelDescriptionList"/>
    <dgm:cxn modelId="{7DDE68C3-AA1A-49EE-B088-08CA4A695A35}" type="presParOf" srcId="{EC040C5B-821D-46BC-92FF-74005DD0D25B}" destId="{C52D7BD3-CCF7-4A07-AB5F-7169DC1B4C5D}" srcOrd="1" destOrd="0" presId="urn:microsoft.com/office/officeart/2018/5/layout/CenteredIconLabelDescriptionList"/>
    <dgm:cxn modelId="{F8112BFA-76D3-44AC-ADD2-AC4F616AC915}" type="presParOf" srcId="{EC040C5B-821D-46BC-92FF-74005DD0D25B}" destId="{122B1435-87FB-4229-B93B-C10A553627E4}" srcOrd="2" destOrd="0" presId="urn:microsoft.com/office/officeart/2018/5/layout/CenteredIconLabelDescriptionList"/>
    <dgm:cxn modelId="{10A7F880-D4AF-43F2-ADD3-9282992F2289}" type="presParOf" srcId="{EC040C5B-821D-46BC-92FF-74005DD0D25B}" destId="{E0BE2532-3EE2-410B-88C9-EDE9A10BE398}" srcOrd="3" destOrd="0" presId="urn:microsoft.com/office/officeart/2018/5/layout/CenteredIconLabelDescriptionList"/>
    <dgm:cxn modelId="{A1F543CD-B51E-43B7-B163-1C4F200F9009}" type="presParOf" srcId="{EC040C5B-821D-46BC-92FF-74005DD0D25B}" destId="{4065F4BD-4492-4940-9D51-E1437C6CE495}" srcOrd="4" destOrd="0" presId="urn:microsoft.com/office/officeart/2018/5/layout/CenteredIconLabelDescriptionList"/>
    <dgm:cxn modelId="{4529D8FB-4417-4A04-AEC6-099DB7A2AB52}" type="presParOf" srcId="{896538D6-D400-45A0-9EC8-E5781570EDA0}" destId="{A6ABDA11-C2B0-4FF3-9A71-59930060AD41}" srcOrd="1" destOrd="0" presId="urn:microsoft.com/office/officeart/2018/5/layout/CenteredIconLabelDescriptionList"/>
    <dgm:cxn modelId="{3C187767-BFA3-45FB-8AC7-D302D3FBD355}" type="presParOf" srcId="{896538D6-D400-45A0-9EC8-E5781570EDA0}" destId="{FB89A3BD-2C1D-4C1C-94CD-C0C04CCEEAC9}" srcOrd="2" destOrd="0" presId="urn:microsoft.com/office/officeart/2018/5/layout/CenteredIconLabelDescriptionList"/>
    <dgm:cxn modelId="{19C7E71B-FFCD-4768-B0B6-89B65838C30B}" type="presParOf" srcId="{FB89A3BD-2C1D-4C1C-94CD-C0C04CCEEAC9}" destId="{74422BC4-9780-46A7-9254-B1F403C01868}" srcOrd="0" destOrd="0" presId="urn:microsoft.com/office/officeart/2018/5/layout/CenteredIconLabelDescriptionList"/>
    <dgm:cxn modelId="{E51515DC-FAB2-4ACC-B500-6FB2AB588FAE}" type="presParOf" srcId="{FB89A3BD-2C1D-4C1C-94CD-C0C04CCEEAC9}" destId="{E8DFA870-B470-4B5A-A86D-2DD2E7A06687}" srcOrd="1" destOrd="0" presId="urn:microsoft.com/office/officeart/2018/5/layout/CenteredIconLabelDescriptionList"/>
    <dgm:cxn modelId="{2A448036-2012-4F04-8B85-717415CBA66F}" type="presParOf" srcId="{FB89A3BD-2C1D-4C1C-94CD-C0C04CCEEAC9}" destId="{4E21B4C4-A4B3-40B2-ADB5-F828FDDF398F}" srcOrd="2" destOrd="0" presId="urn:microsoft.com/office/officeart/2018/5/layout/CenteredIconLabelDescriptionList"/>
    <dgm:cxn modelId="{6D5979ED-A0E6-4639-B655-C1E20DD74914}" type="presParOf" srcId="{FB89A3BD-2C1D-4C1C-94CD-C0C04CCEEAC9}" destId="{3C2417EB-B430-4D5A-8C8D-7BDF4F90C2A5}" srcOrd="3" destOrd="0" presId="urn:microsoft.com/office/officeart/2018/5/layout/CenteredIconLabelDescriptionList"/>
    <dgm:cxn modelId="{E60466BD-B576-4D7E-8EEC-E68B63EDC93D}" type="presParOf" srcId="{FB89A3BD-2C1D-4C1C-94CD-C0C04CCEEAC9}" destId="{DD1BBC51-1125-4DAA-85E3-B2C9777BA315}" srcOrd="4" destOrd="0" presId="urn:microsoft.com/office/officeart/2018/5/layout/CenteredIconLabelDescriptionList"/>
    <dgm:cxn modelId="{02FB5DD2-F37C-4887-A5ED-C2083502FE23}" type="presParOf" srcId="{896538D6-D400-45A0-9EC8-E5781570EDA0}" destId="{8BED5970-D5FD-4C6B-9D7C-A1C6AB7C0C03}" srcOrd="3" destOrd="0" presId="urn:microsoft.com/office/officeart/2018/5/layout/CenteredIconLabelDescriptionList"/>
    <dgm:cxn modelId="{5BEB834E-CC2D-4484-969E-2D1C5D2ABB95}" type="presParOf" srcId="{896538D6-D400-45A0-9EC8-E5781570EDA0}" destId="{F111D523-7DD4-41CA-A6E4-10D10E76359D}" srcOrd="4" destOrd="0" presId="urn:microsoft.com/office/officeart/2018/5/layout/CenteredIconLabelDescriptionList"/>
    <dgm:cxn modelId="{0FA63A71-B58A-42CD-A8F3-5355B7348F36}" type="presParOf" srcId="{F111D523-7DD4-41CA-A6E4-10D10E76359D}" destId="{CF87583E-C7BB-4EE1-9E61-7C352A0BDA85}" srcOrd="0" destOrd="0" presId="urn:microsoft.com/office/officeart/2018/5/layout/CenteredIconLabelDescriptionList"/>
    <dgm:cxn modelId="{70F755F7-1FEB-4A25-9FE4-781447F9BF35}" type="presParOf" srcId="{F111D523-7DD4-41CA-A6E4-10D10E76359D}" destId="{FF963771-1722-49E5-985B-CB962BBB780E}" srcOrd="1" destOrd="0" presId="urn:microsoft.com/office/officeart/2018/5/layout/CenteredIconLabelDescriptionList"/>
    <dgm:cxn modelId="{EF4AA761-81F1-4758-8B93-354960875E17}" type="presParOf" srcId="{F111D523-7DD4-41CA-A6E4-10D10E76359D}" destId="{030E3E9C-96A8-4A11-9500-405B19A9E8F5}" srcOrd="2" destOrd="0" presId="urn:microsoft.com/office/officeart/2018/5/layout/CenteredIconLabelDescriptionList"/>
    <dgm:cxn modelId="{CCEC4842-D56D-4047-8205-77995213C527}" type="presParOf" srcId="{F111D523-7DD4-41CA-A6E4-10D10E76359D}" destId="{FDDA2A0D-068C-4B2F-B30B-1C0DB863B966}" srcOrd="3" destOrd="0" presId="urn:microsoft.com/office/officeart/2018/5/layout/CenteredIconLabelDescriptionList"/>
    <dgm:cxn modelId="{1E4C8F07-6284-47C1-A5A9-C90467647AB0}" type="presParOf" srcId="{F111D523-7DD4-41CA-A6E4-10D10E76359D}" destId="{4E008088-D1AF-405F-84AD-E747B154F1A3}"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EEB822-4E10-4EF0-B4FE-82755062E9BE}"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C0265CB9-41AB-4FD7-B38A-61133C936DD2}">
      <dgm:prSet/>
      <dgm:spPr/>
      <dgm:t>
        <a:bodyPr/>
        <a:lstStyle/>
        <a:p>
          <a:r>
            <a:rPr lang="en-US"/>
            <a:t>Seat Belts</a:t>
          </a:r>
        </a:p>
      </dgm:t>
    </dgm:pt>
    <dgm:pt modelId="{7D322AA9-3287-4449-9A49-C9FB22B1483F}" type="parTrans" cxnId="{660B92D7-C4AD-43C8-A2DF-382B0E43CC4D}">
      <dgm:prSet/>
      <dgm:spPr/>
      <dgm:t>
        <a:bodyPr/>
        <a:lstStyle/>
        <a:p>
          <a:endParaRPr lang="en-US"/>
        </a:p>
      </dgm:t>
    </dgm:pt>
    <dgm:pt modelId="{64165336-201C-457F-A833-8B7156E80A69}" type="sibTrans" cxnId="{660B92D7-C4AD-43C8-A2DF-382B0E43CC4D}">
      <dgm:prSet/>
      <dgm:spPr/>
      <dgm:t>
        <a:bodyPr/>
        <a:lstStyle/>
        <a:p>
          <a:endParaRPr lang="en-US"/>
        </a:p>
      </dgm:t>
    </dgm:pt>
    <dgm:pt modelId="{7BCB498C-CA5D-49C6-931F-B920325AFFCC}">
      <dgm:prSet/>
      <dgm:spPr/>
      <dgm:t>
        <a:bodyPr/>
        <a:lstStyle/>
        <a:p>
          <a:r>
            <a:rPr lang="en-US"/>
            <a:t>Complacency</a:t>
          </a:r>
        </a:p>
      </dgm:t>
    </dgm:pt>
    <dgm:pt modelId="{B24D7DD5-D9E1-47A4-9B18-9EE5D8F7C271}" type="parTrans" cxnId="{73D1978F-2582-4C8B-AAC8-D01ED628AF7E}">
      <dgm:prSet/>
      <dgm:spPr/>
      <dgm:t>
        <a:bodyPr/>
        <a:lstStyle/>
        <a:p>
          <a:endParaRPr lang="en-US"/>
        </a:p>
      </dgm:t>
    </dgm:pt>
    <dgm:pt modelId="{59EFF447-521E-4F0B-8436-A096F7D93824}" type="sibTrans" cxnId="{73D1978F-2582-4C8B-AAC8-D01ED628AF7E}">
      <dgm:prSet/>
      <dgm:spPr/>
      <dgm:t>
        <a:bodyPr/>
        <a:lstStyle/>
        <a:p>
          <a:endParaRPr lang="en-US"/>
        </a:p>
      </dgm:t>
    </dgm:pt>
    <dgm:pt modelId="{714937D1-6BBC-4F8D-8593-3F427535675A}">
      <dgm:prSet/>
      <dgm:spPr/>
      <dgm:t>
        <a:bodyPr/>
        <a:lstStyle/>
        <a:p>
          <a:r>
            <a:rPr lang="en-US"/>
            <a:t>Fatigue</a:t>
          </a:r>
        </a:p>
      </dgm:t>
    </dgm:pt>
    <dgm:pt modelId="{987B7B9A-3E13-424C-912C-AB1B1B8F9837}" type="parTrans" cxnId="{4BC182FB-0DD3-468F-986E-1B0DAC8A30C0}">
      <dgm:prSet/>
      <dgm:spPr/>
      <dgm:t>
        <a:bodyPr/>
        <a:lstStyle/>
        <a:p>
          <a:endParaRPr lang="en-US"/>
        </a:p>
      </dgm:t>
    </dgm:pt>
    <dgm:pt modelId="{092C8C1E-1A42-41FC-BC23-B0BAE18D4E04}" type="sibTrans" cxnId="{4BC182FB-0DD3-468F-986E-1B0DAC8A30C0}">
      <dgm:prSet/>
      <dgm:spPr/>
      <dgm:t>
        <a:bodyPr/>
        <a:lstStyle/>
        <a:p>
          <a:endParaRPr lang="en-US"/>
        </a:p>
      </dgm:t>
    </dgm:pt>
    <dgm:pt modelId="{42C1539E-0322-4503-A69F-C979F9A1C4F3}">
      <dgm:prSet/>
      <dgm:spPr/>
      <dgm:t>
        <a:bodyPr/>
        <a:lstStyle/>
        <a:p>
          <a:r>
            <a:rPr lang="en-US"/>
            <a:t>TDDs</a:t>
          </a:r>
        </a:p>
      </dgm:t>
    </dgm:pt>
    <dgm:pt modelId="{46C290DE-14D9-4F9C-AE21-3AAB545FC2BB}" type="parTrans" cxnId="{EB1E0689-2A00-4DBC-8206-219D1B59C768}">
      <dgm:prSet/>
      <dgm:spPr/>
      <dgm:t>
        <a:bodyPr/>
        <a:lstStyle/>
        <a:p>
          <a:endParaRPr lang="en-US"/>
        </a:p>
      </dgm:t>
    </dgm:pt>
    <dgm:pt modelId="{C1EF6368-A479-40D7-B8B9-7D4D1CD114AF}" type="sibTrans" cxnId="{EB1E0689-2A00-4DBC-8206-219D1B59C768}">
      <dgm:prSet/>
      <dgm:spPr/>
      <dgm:t>
        <a:bodyPr/>
        <a:lstStyle/>
        <a:p>
          <a:endParaRPr lang="en-US"/>
        </a:p>
      </dgm:t>
    </dgm:pt>
    <dgm:pt modelId="{F34E93B6-072F-4A58-BDFC-4D8EB39C5DE1}">
      <dgm:prSet/>
      <dgm:spPr/>
      <dgm:t>
        <a:bodyPr/>
        <a:lstStyle/>
        <a:p>
          <a:r>
            <a:rPr lang="en-US"/>
            <a:t>Training</a:t>
          </a:r>
        </a:p>
      </dgm:t>
    </dgm:pt>
    <dgm:pt modelId="{F8F4C8E2-67E5-4E5D-9762-C641509FB541}" type="parTrans" cxnId="{82D80247-7B43-4496-A840-4FEEDE971CD8}">
      <dgm:prSet/>
      <dgm:spPr/>
      <dgm:t>
        <a:bodyPr/>
        <a:lstStyle/>
        <a:p>
          <a:endParaRPr lang="en-US"/>
        </a:p>
      </dgm:t>
    </dgm:pt>
    <dgm:pt modelId="{B79ECC36-6947-4249-91BA-A5C97B27EFF5}" type="sibTrans" cxnId="{82D80247-7B43-4496-A840-4FEEDE971CD8}">
      <dgm:prSet/>
      <dgm:spPr/>
      <dgm:t>
        <a:bodyPr/>
        <a:lstStyle/>
        <a:p>
          <a:endParaRPr lang="en-US"/>
        </a:p>
      </dgm:t>
    </dgm:pt>
    <dgm:pt modelId="{669F2473-3FAC-43D8-8A1F-E00DCA99922B}">
      <dgm:prSet/>
      <dgm:spPr/>
      <dgm:t>
        <a:bodyPr/>
        <a:lstStyle/>
        <a:p>
          <a:r>
            <a:rPr lang="en-US"/>
            <a:t>Right-side approaches</a:t>
          </a:r>
        </a:p>
      </dgm:t>
    </dgm:pt>
    <dgm:pt modelId="{6E143303-F560-4CA4-9DB6-45A544041188}" type="parTrans" cxnId="{67B79A08-D5C0-459D-8DB3-DC7925783FA4}">
      <dgm:prSet/>
      <dgm:spPr/>
      <dgm:t>
        <a:bodyPr/>
        <a:lstStyle/>
        <a:p>
          <a:endParaRPr lang="en-US"/>
        </a:p>
      </dgm:t>
    </dgm:pt>
    <dgm:pt modelId="{4459FF1E-DA23-4E09-9CDF-17D74E3294DC}" type="sibTrans" cxnId="{67B79A08-D5C0-459D-8DB3-DC7925783FA4}">
      <dgm:prSet/>
      <dgm:spPr/>
      <dgm:t>
        <a:bodyPr/>
        <a:lstStyle/>
        <a:p>
          <a:endParaRPr lang="en-US"/>
        </a:p>
      </dgm:t>
    </dgm:pt>
    <dgm:pt modelId="{23A007D5-EC8A-45B7-99A5-D62F7EC23C94}">
      <dgm:prSet/>
      <dgm:spPr/>
      <dgm:t>
        <a:bodyPr/>
        <a:lstStyle/>
        <a:p>
          <a:r>
            <a:rPr lang="en-US"/>
            <a:t>Body Armor</a:t>
          </a:r>
        </a:p>
      </dgm:t>
    </dgm:pt>
    <dgm:pt modelId="{C4DA69C0-D8CF-4A5D-A9BF-7F86129B3E6E}" type="parTrans" cxnId="{017DA585-3463-472E-B0AA-059D8352F795}">
      <dgm:prSet/>
      <dgm:spPr/>
      <dgm:t>
        <a:bodyPr/>
        <a:lstStyle/>
        <a:p>
          <a:endParaRPr lang="en-US"/>
        </a:p>
      </dgm:t>
    </dgm:pt>
    <dgm:pt modelId="{E9FF798C-A05D-41E2-95EF-B83B0FC1AE73}" type="sibTrans" cxnId="{017DA585-3463-472E-B0AA-059D8352F795}">
      <dgm:prSet/>
      <dgm:spPr/>
      <dgm:t>
        <a:bodyPr/>
        <a:lstStyle/>
        <a:p>
          <a:endParaRPr lang="en-US"/>
        </a:p>
      </dgm:t>
    </dgm:pt>
    <dgm:pt modelId="{599B9F72-B55A-4ABE-A724-7DE084EB7232}">
      <dgm:prSet/>
      <dgm:spPr/>
      <dgm:t>
        <a:bodyPr/>
        <a:lstStyle/>
        <a:p>
          <a:r>
            <a:rPr lang="en-US"/>
            <a:t>Being Seen</a:t>
          </a:r>
        </a:p>
      </dgm:t>
    </dgm:pt>
    <dgm:pt modelId="{3813047C-C228-4A83-94A1-6D680F3D8DFC}" type="parTrans" cxnId="{A4BE098B-A335-4BDC-B9A5-4A70F6B223D0}">
      <dgm:prSet/>
      <dgm:spPr/>
      <dgm:t>
        <a:bodyPr/>
        <a:lstStyle/>
        <a:p>
          <a:endParaRPr lang="en-US"/>
        </a:p>
      </dgm:t>
    </dgm:pt>
    <dgm:pt modelId="{A8B297B7-0547-4EB1-B3DA-7B8E2F9B980B}" type="sibTrans" cxnId="{A4BE098B-A335-4BDC-B9A5-4A70F6B223D0}">
      <dgm:prSet/>
      <dgm:spPr/>
      <dgm:t>
        <a:bodyPr/>
        <a:lstStyle/>
        <a:p>
          <a:endParaRPr lang="en-US"/>
        </a:p>
      </dgm:t>
    </dgm:pt>
    <dgm:pt modelId="{24F10148-E0AE-4102-9391-A09FA2220A45}" type="pres">
      <dgm:prSet presAssocID="{8CEEB822-4E10-4EF0-B4FE-82755062E9BE}" presName="vert0" presStyleCnt="0">
        <dgm:presLayoutVars>
          <dgm:dir/>
          <dgm:animOne val="branch"/>
          <dgm:animLvl val="lvl"/>
        </dgm:presLayoutVars>
      </dgm:prSet>
      <dgm:spPr/>
    </dgm:pt>
    <dgm:pt modelId="{24CE60B5-E783-40D7-A31E-12F2D9935CEE}" type="pres">
      <dgm:prSet presAssocID="{C0265CB9-41AB-4FD7-B38A-61133C936DD2}" presName="thickLine" presStyleLbl="alignNode1" presStyleIdx="0" presStyleCnt="8"/>
      <dgm:spPr/>
    </dgm:pt>
    <dgm:pt modelId="{483383CD-F90E-4D7F-BA97-0C6703F6D07E}" type="pres">
      <dgm:prSet presAssocID="{C0265CB9-41AB-4FD7-B38A-61133C936DD2}" presName="horz1" presStyleCnt="0"/>
      <dgm:spPr/>
    </dgm:pt>
    <dgm:pt modelId="{A318E8B8-AD98-411B-B824-6974F97A239E}" type="pres">
      <dgm:prSet presAssocID="{C0265CB9-41AB-4FD7-B38A-61133C936DD2}" presName="tx1" presStyleLbl="revTx" presStyleIdx="0" presStyleCnt="8"/>
      <dgm:spPr/>
    </dgm:pt>
    <dgm:pt modelId="{A31CBA6C-99D9-49DD-B100-2E66A70CBE8C}" type="pres">
      <dgm:prSet presAssocID="{C0265CB9-41AB-4FD7-B38A-61133C936DD2}" presName="vert1" presStyleCnt="0"/>
      <dgm:spPr/>
    </dgm:pt>
    <dgm:pt modelId="{BE759E26-FCB6-4D64-9BF5-D6F6052E3832}" type="pres">
      <dgm:prSet presAssocID="{7BCB498C-CA5D-49C6-931F-B920325AFFCC}" presName="thickLine" presStyleLbl="alignNode1" presStyleIdx="1" presStyleCnt="8"/>
      <dgm:spPr/>
    </dgm:pt>
    <dgm:pt modelId="{2A2B63A9-5D7B-454A-B653-F21C28356C86}" type="pres">
      <dgm:prSet presAssocID="{7BCB498C-CA5D-49C6-931F-B920325AFFCC}" presName="horz1" presStyleCnt="0"/>
      <dgm:spPr/>
    </dgm:pt>
    <dgm:pt modelId="{E201FB99-BC40-4FDF-9129-31EA2C6AD858}" type="pres">
      <dgm:prSet presAssocID="{7BCB498C-CA5D-49C6-931F-B920325AFFCC}" presName="tx1" presStyleLbl="revTx" presStyleIdx="1" presStyleCnt="8"/>
      <dgm:spPr/>
    </dgm:pt>
    <dgm:pt modelId="{175B8EC5-21DA-403E-B191-9A0A7875764E}" type="pres">
      <dgm:prSet presAssocID="{7BCB498C-CA5D-49C6-931F-B920325AFFCC}" presName="vert1" presStyleCnt="0"/>
      <dgm:spPr/>
    </dgm:pt>
    <dgm:pt modelId="{1DC45FC5-EF93-41E1-A80A-AFDE7C8B8D0F}" type="pres">
      <dgm:prSet presAssocID="{714937D1-6BBC-4F8D-8593-3F427535675A}" presName="thickLine" presStyleLbl="alignNode1" presStyleIdx="2" presStyleCnt="8"/>
      <dgm:spPr/>
    </dgm:pt>
    <dgm:pt modelId="{D317A77F-93D1-4027-852C-228376DD85E5}" type="pres">
      <dgm:prSet presAssocID="{714937D1-6BBC-4F8D-8593-3F427535675A}" presName="horz1" presStyleCnt="0"/>
      <dgm:spPr/>
    </dgm:pt>
    <dgm:pt modelId="{DBE0B9C5-5897-42D4-B133-2A6E37143DB7}" type="pres">
      <dgm:prSet presAssocID="{714937D1-6BBC-4F8D-8593-3F427535675A}" presName="tx1" presStyleLbl="revTx" presStyleIdx="2" presStyleCnt="8"/>
      <dgm:spPr/>
    </dgm:pt>
    <dgm:pt modelId="{F46C9290-2EFB-4AE4-8419-4D6A416E90FC}" type="pres">
      <dgm:prSet presAssocID="{714937D1-6BBC-4F8D-8593-3F427535675A}" presName="vert1" presStyleCnt="0"/>
      <dgm:spPr/>
    </dgm:pt>
    <dgm:pt modelId="{AB100650-8E24-46F8-BE50-D4A27E1150CB}" type="pres">
      <dgm:prSet presAssocID="{42C1539E-0322-4503-A69F-C979F9A1C4F3}" presName="thickLine" presStyleLbl="alignNode1" presStyleIdx="3" presStyleCnt="8"/>
      <dgm:spPr/>
    </dgm:pt>
    <dgm:pt modelId="{BEB5286B-37BB-48D9-B53A-3173542566FB}" type="pres">
      <dgm:prSet presAssocID="{42C1539E-0322-4503-A69F-C979F9A1C4F3}" presName="horz1" presStyleCnt="0"/>
      <dgm:spPr/>
    </dgm:pt>
    <dgm:pt modelId="{9763B737-3F33-4541-9CCD-04AC20992158}" type="pres">
      <dgm:prSet presAssocID="{42C1539E-0322-4503-A69F-C979F9A1C4F3}" presName="tx1" presStyleLbl="revTx" presStyleIdx="3" presStyleCnt="8"/>
      <dgm:spPr/>
    </dgm:pt>
    <dgm:pt modelId="{38D824E3-9F88-4F67-B5FC-734EAC73CC82}" type="pres">
      <dgm:prSet presAssocID="{42C1539E-0322-4503-A69F-C979F9A1C4F3}" presName="vert1" presStyleCnt="0"/>
      <dgm:spPr/>
    </dgm:pt>
    <dgm:pt modelId="{F554F090-EE53-4B9E-8E56-49F82955D093}" type="pres">
      <dgm:prSet presAssocID="{F34E93B6-072F-4A58-BDFC-4D8EB39C5DE1}" presName="thickLine" presStyleLbl="alignNode1" presStyleIdx="4" presStyleCnt="8"/>
      <dgm:spPr/>
    </dgm:pt>
    <dgm:pt modelId="{661D5F8D-79DD-41C9-AD46-4ACABCB05CE7}" type="pres">
      <dgm:prSet presAssocID="{F34E93B6-072F-4A58-BDFC-4D8EB39C5DE1}" presName="horz1" presStyleCnt="0"/>
      <dgm:spPr/>
    </dgm:pt>
    <dgm:pt modelId="{BD9EE721-CB63-4B0B-A2B1-F79BE51A1BAC}" type="pres">
      <dgm:prSet presAssocID="{F34E93B6-072F-4A58-BDFC-4D8EB39C5DE1}" presName="tx1" presStyleLbl="revTx" presStyleIdx="4" presStyleCnt="8"/>
      <dgm:spPr/>
    </dgm:pt>
    <dgm:pt modelId="{556E2264-0CC8-4AC3-86A8-1C7CDFB5A418}" type="pres">
      <dgm:prSet presAssocID="{F34E93B6-072F-4A58-BDFC-4D8EB39C5DE1}" presName="vert1" presStyleCnt="0"/>
      <dgm:spPr/>
    </dgm:pt>
    <dgm:pt modelId="{E531DDBA-C735-42F6-B68B-78F638DD2164}" type="pres">
      <dgm:prSet presAssocID="{669F2473-3FAC-43D8-8A1F-E00DCA99922B}" presName="thickLine" presStyleLbl="alignNode1" presStyleIdx="5" presStyleCnt="8"/>
      <dgm:spPr/>
    </dgm:pt>
    <dgm:pt modelId="{C3986E9E-E650-47CD-B74D-791F739F6727}" type="pres">
      <dgm:prSet presAssocID="{669F2473-3FAC-43D8-8A1F-E00DCA99922B}" presName="horz1" presStyleCnt="0"/>
      <dgm:spPr/>
    </dgm:pt>
    <dgm:pt modelId="{D34B5019-F337-46DF-9EBB-D8E7C4EB924B}" type="pres">
      <dgm:prSet presAssocID="{669F2473-3FAC-43D8-8A1F-E00DCA99922B}" presName="tx1" presStyleLbl="revTx" presStyleIdx="5" presStyleCnt="8"/>
      <dgm:spPr/>
    </dgm:pt>
    <dgm:pt modelId="{58A8718D-B41D-420E-80B9-B5FAC26E3AE9}" type="pres">
      <dgm:prSet presAssocID="{669F2473-3FAC-43D8-8A1F-E00DCA99922B}" presName="vert1" presStyleCnt="0"/>
      <dgm:spPr/>
    </dgm:pt>
    <dgm:pt modelId="{FD68C6AF-BF85-4D12-BC0A-1DC7FCFE6B86}" type="pres">
      <dgm:prSet presAssocID="{23A007D5-EC8A-45B7-99A5-D62F7EC23C94}" presName="thickLine" presStyleLbl="alignNode1" presStyleIdx="6" presStyleCnt="8"/>
      <dgm:spPr/>
    </dgm:pt>
    <dgm:pt modelId="{FF3733A5-85E3-45BF-8005-8F4B4EBF7541}" type="pres">
      <dgm:prSet presAssocID="{23A007D5-EC8A-45B7-99A5-D62F7EC23C94}" presName="horz1" presStyleCnt="0"/>
      <dgm:spPr/>
    </dgm:pt>
    <dgm:pt modelId="{90B48F1E-6037-47EA-8EA3-39D17387B64A}" type="pres">
      <dgm:prSet presAssocID="{23A007D5-EC8A-45B7-99A5-D62F7EC23C94}" presName="tx1" presStyleLbl="revTx" presStyleIdx="6" presStyleCnt="8"/>
      <dgm:spPr/>
    </dgm:pt>
    <dgm:pt modelId="{8CB67087-27BD-45EA-9591-6E9BC59C1F2D}" type="pres">
      <dgm:prSet presAssocID="{23A007D5-EC8A-45B7-99A5-D62F7EC23C94}" presName="vert1" presStyleCnt="0"/>
      <dgm:spPr/>
    </dgm:pt>
    <dgm:pt modelId="{FB201CE1-CCC9-4C46-9282-B4ECEF357281}" type="pres">
      <dgm:prSet presAssocID="{599B9F72-B55A-4ABE-A724-7DE084EB7232}" presName="thickLine" presStyleLbl="alignNode1" presStyleIdx="7" presStyleCnt="8"/>
      <dgm:spPr/>
    </dgm:pt>
    <dgm:pt modelId="{0458829D-9160-4D67-997B-5149247C789A}" type="pres">
      <dgm:prSet presAssocID="{599B9F72-B55A-4ABE-A724-7DE084EB7232}" presName="horz1" presStyleCnt="0"/>
      <dgm:spPr/>
    </dgm:pt>
    <dgm:pt modelId="{C5BA2BCA-E4C7-460F-B993-ADA7160DAED7}" type="pres">
      <dgm:prSet presAssocID="{599B9F72-B55A-4ABE-A724-7DE084EB7232}" presName="tx1" presStyleLbl="revTx" presStyleIdx="7" presStyleCnt="8"/>
      <dgm:spPr/>
    </dgm:pt>
    <dgm:pt modelId="{C4815C1F-F2CA-421C-9146-D64E6C2E0A55}" type="pres">
      <dgm:prSet presAssocID="{599B9F72-B55A-4ABE-A724-7DE084EB7232}" presName="vert1" presStyleCnt="0"/>
      <dgm:spPr/>
    </dgm:pt>
  </dgm:ptLst>
  <dgm:cxnLst>
    <dgm:cxn modelId="{67B79A08-D5C0-459D-8DB3-DC7925783FA4}" srcId="{8CEEB822-4E10-4EF0-B4FE-82755062E9BE}" destId="{669F2473-3FAC-43D8-8A1F-E00DCA99922B}" srcOrd="5" destOrd="0" parTransId="{6E143303-F560-4CA4-9DB6-45A544041188}" sibTransId="{4459FF1E-DA23-4E09-9CDF-17D74E3294DC}"/>
    <dgm:cxn modelId="{76F2670B-4F58-4270-8090-5779C6E99DB7}" type="presOf" srcId="{7BCB498C-CA5D-49C6-931F-B920325AFFCC}" destId="{E201FB99-BC40-4FDF-9129-31EA2C6AD858}" srcOrd="0" destOrd="0" presId="urn:microsoft.com/office/officeart/2008/layout/LinedList"/>
    <dgm:cxn modelId="{A56F8433-9FD9-4556-952A-E64F91FCF464}" type="presOf" srcId="{F34E93B6-072F-4A58-BDFC-4D8EB39C5DE1}" destId="{BD9EE721-CB63-4B0B-A2B1-F79BE51A1BAC}" srcOrd="0" destOrd="0" presId="urn:microsoft.com/office/officeart/2008/layout/LinedList"/>
    <dgm:cxn modelId="{E322CA61-EAC0-4556-9DD3-BDB139423E99}" type="presOf" srcId="{C0265CB9-41AB-4FD7-B38A-61133C936DD2}" destId="{A318E8B8-AD98-411B-B824-6974F97A239E}" srcOrd="0" destOrd="0" presId="urn:microsoft.com/office/officeart/2008/layout/LinedList"/>
    <dgm:cxn modelId="{EDBFDD64-C150-4BAD-8431-7AA90F18F99D}" type="presOf" srcId="{23A007D5-EC8A-45B7-99A5-D62F7EC23C94}" destId="{90B48F1E-6037-47EA-8EA3-39D17387B64A}" srcOrd="0" destOrd="0" presId="urn:microsoft.com/office/officeart/2008/layout/LinedList"/>
    <dgm:cxn modelId="{82D80247-7B43-4496-A840-4FEEDE971CD8}" srcId="{8CEEB822-4E10-4EF0-B4FE-82755062E9BE}" destId="{F34E93B6-072F-4A58-BDFC-4D8EB39C5DE1}" srcOrd="4" destOrd="0" parTransId="{F8F4C8E2-67E5-4E5D-9762-C641509FB541}" sibTransId="{B79ECC36-6947-4249-91BA-A5C97B27EFF5}"/>
    <dgm:cxn modelId="{017DA585-3463-472E-B0AA-059D8352F795}" srcId="{8CEEB822-4E10-4EF0-B4FE-82755062E9BE}" destId="{23A007D5-EC8A-45B7-99A5-D62F7EC23C94}" srcOrd="6" destOrd="0" parTransId="{C4DA69C0-D8CF-4A5D-A9BF-7F86129B3E6E}" sibTransId="{E9FF798C-A05D-41E2-95EF-B83B0FC1AE73}"/>
    <dgm:cxn modelId="{EB1E0689-2A00-4DBC-8206-219D1B59C768}" srcId="{8CEEB822-4E10-4EF0-B4FE-82755062E9BE}" destId="{42C1539E-0322-4503-A69F-C979F9A1C4F3}" srcOrd="3" destOrd="0" parTransId="{46C290DE-14D9-4F9C-AE21-3AAB545FC2BB}" sibTransId="{C1EF6368-A479-40D7-B8B9-7D4D1CD114AF}"/>
    <dgm:cxn modelId="{A4BE098B-A335-4BDC-B9A5-4A70F6B223D0}" srcId="{8CEEB822-4E10-4EF0-B4FE-82755062E9BE}" destId="{599B9F72-B55A-4ABE-A724-7DE084EB7232}" srcOrd="7" destOrd="0" parTransId="{3813047C-C228-4A83-94A1-6D680F3D8DFC}" sibTransId="{A8B297B7-0547-4EB1-B3DA-7B8E2F9B980B}"/>
    <dgm:cxn modelId="{73D1978F-2582-4C8B-AAC8-D01ED628AF7E}" srcId="{8CEEB822-4E10-4EF0-B4FE-82755062E9BE}" destId="{7BCB498C-CA5D-49C6-931F-B920325AFFCC}" srcOrd="1" destOrd="0" parTransId="{B24D7DD5-D9E1-47A4-9B18-9EE5D8F7C271}" sibTransId="{59EFF447-521E-4F0B-8436-A096F7D93824}"/>
    <dgm:cxn modelId="{EF394CAA-D46F-4D54-ACD7-52967A6991E2}" type="presOf" srcId="{599B9F72-B55A-4ABE-A724-7DE084EB7232}" destId="{C5BA2BCA-E4C7-460F-B993-ADA7160DAED7}" srcOrd="0" destOrd="0" presId="urn:microsoft.com/office/officeart/2008/layout/LinedList"/>
    <dgm:cxn modelId="{055092AB-7C37-4FED-82C9-EF4D1C1F5767}" type="presOf" srcId="{8CEEB822-4E10-4EF0-B4FE-82755062E9BE}" destId="{24F10148-E0AE-4102-9391-A09FA2220A45}" srcOrd="0" destOrd="0" presId="urn:microsoft.com/office/officeart/2008/layout/LinedList"/>
    <dgm:cxn modelId="{E1ADC8AD-7889-492D-9D3D-2BB5E0540D36}" type="presOf" srcId="{714937D1-6BBC-4F8D-8593-3F427535675A}" destId="{DBE0B9C5-5897-42D4-B133-2A6E37143DB7}" srcOrd="0" destOrd="0" presId="urn:microsoft.com/office/officeart/2008/layout/LinedList"/>
    <dgm:cxn modelId="{4DEF41C7-93F1-4954-81A0-BA1BFF953308}" type="presOf" srcId="{669F2473-3FAC-43D8-8A1F-E00DCA99922B}" destId="{D34B5019-F337-46DF-9EBB-D8E7C4EB924B}" srcOrd="0" destOrd="0" presId="urn:microsoft.com/office/officeart/2008/layout/LinedList"/>
    <dgm:cxn modelId="{660B92D7-C4AD-43C8-A2DF-382B0E43CC4D}" srcId="{8CEEB822-4E10-4EF0-B4FE-82755062E9BE}" destId="{C0265CB9-41AB-4FD7-B38A-61133C936DD2}" srcOrd="0" destOrd="0" parTransId="{7D322AA9-3287-4449-9A49-C9FB22B1483F}" sibTransId="{64165336-201C-457F-A833-8B7156E80A69}"/>
    <dgm:cxn modelId="{4BC182FB-0DD3-468F-986E-1B0DAC8A30C0}" srcId="{8CEEB822-4E10-4EF0-B4FE-82755062E9BE}" destId="{714937D1-6BBC-4F8D-8593-3F427535675A}" srcOrd="2" destOrd="0" parTransId="{987B7B9A-3E13-424C-912C-AB1B1B8F9837}" sibTransId="{092C8C1E-1A42-41FC-BC23-B0BAE18D4E04}"/>
    <dgm:cxn modelId="{49F48CFB-3B5E-4286-9661-35724D2242EE}" type="presOf" srcId="{42C1539E-0322-4503-A69F-C979F9A1C4F3}" destId="{9763B737-3F33-4541-9CCD-04AC20992158}" srcOrd="0" destOrd="0" presId="urn:microsoft.com/office/officeart/2008/layout/LinedList"/>
    <dgm:cxn modelId="{684900AE-B2A5-4025-BBD6-DA3EBBFD871E}" type="presParOf" srcId="{24F10148-E0AE-4102-9391-A09FA2220A45}" destId="{24CE60B5-E783-40D7-A31E-12F2D9935CEE}" srcOrd="0" destOrd="0" presId="urn:microsoft.com/office/officeart/2008/layout/LinedList"/>
    <dgm:cxn modelId="{7EF33619-C615-4BD4-85DC-73F766056075}" type="presParOf" srcId="{24F10148-E0AE-4102-9391-A09FA2220A45}" destId="{483383CD-F90E-4D7F-BA97-0C6703F6D07E}" srcOrd="1" destOrd="0" presId="urn:microsoft.com/office/officeart/2008/layout/LinedList"/>
    <dgm:cxn modelId="{C75001BB-ACF7-408F-8838-1B788BFDF5B9}" type="presParOf" srcId="{483383CD-F90E-4D7F-BA97-0C6703F6D07E}" destId="{A318E8B8-AD98-411B-B824-6974F97A239E}" srcOrd="0" destOrd="0" presId="urn:microsoft.com/office/officeart/2008/layout/LinedList"/>
    <dgm:cxn modelId="{1AE1B8B6-BF20-4205-A232-4C6504C8A16F}" type="presParOf" srcId="{483383CD-F90E-4D7F-BA97-0C6703F6D07E}" destId="{A31CBA6C-99D9-49DD-B100-2E66A70CBE8C}" srcOrd="1" destOrd="0" presId="urn:microsoft.com/office/officeart/2008/layout/LinedList"/>
    <dgm:cxn modelId="{C3335F22-C4BE-49C9-BEAC-C3A2DAA4EA59}" type="presParOf" srcId="{24F10148-E0AE-4102-9391-A09FA2220A45}" destId="{BE759E26-FCB6-4D64-9BF5-D6F6052E3832}" srcOrd="2" destOrd="0" presId="urn:microsoft.com/office/officeart/2008/layout/LinedList"/>
    <dgm:cxn modelId="{D02B8362-1603-4C17-BA17-1B2FBF11DF23}" type="presParOf" srcId="{24F10148-E0AE-4102-9391-A09FA2220A45}" destId="{2A2B63A9-5D7B-454A-B653-F21C28356C86}" srcOrd="3" destOrd="0" presId="urn:microsoft.com/office/officeart/2008/layout/LinedList"/>
    <dgm:cxn modelId="{52F3C483-1C85-4824-BE29-827770780E3E}" type="presParOf" srcId="{2A2B63A9-5D7B-454A-B653-F21C28356C86}" destId="{E201FB99-BC40-4FDF-9129-31EA2C6AD858}" srcOrd="0" destOrd="0" presId="urn:microsoft.com/office/officeart/2008/layout/LinedList"/>
    <dgm:cxn modelId="{4697BB83-D54C-4697-AC0F-1081824A1817}" type="presParOf" srcId="{2A2B63A9-5D7B-454A-B653-F21C28356C86}" destId="{175B8EC5-21DA-403E-B191-9A0A7875764E}" srcOrd="1" destOrd="0" presId="urn:microsoft.com/office/officeart/2008/layout/LinedList"/>
    <dgm:cxn modelId="{9BDABD0B-0D84-43AC-A161-D1EAFF932557}" type="presParOf" srcId="{24F10148-E0AE-4102-9391-A09FA2220A45}" destId="{1DC45FC5-EF93-41E1-A80A-AFDE7C8B8D0F}" srcOrd="4" destOrd="0" presId="urn:microsoft.com/office/officeart/2008/layout/LinedList"/>
    <dgm:cxn modelId="{C5F5AD9C-0EDD-40DB-80DA-0231EE69A2D1}" type="presParOf" srcId="{24F10148-E0AE-4102-9391-A09FA2220A45}" destId="{D317A77F-93D1-4027-852C-228376DD85E5}" srcOrd="5" destOrd="0" presId="urn:microsoft.com/office/officeart/2008/layout/LinedList"/>
    <dgm:cxn modelId="{EE9FDE88-1F48-4E76-9AAD-3FDD1EBA35F6}" type="presParOf" srcId="{D317A77F-93D1-4027-852C-228376DD85E5}" destId="{DBE0B9C5-5897-42D4-B133-2A6E37143DB7}" srcOrd="0" destOrd="0" presId="urn:microsoft.com/office/officeart/2008/layout/LinedList"/>
    <dgm:cxn modelId="{EA027785-8292-405C-9B2A-8DDA6F80AB0F}" type="presParOf" srcId="{D317A77F-93D1-4027-852C-228376DD85E5}" destId="{F46C9290-2EFB-4AE4-8419-4D6A416E90FC}" srcOrd="1" destOrd="0" presId="urn:microsoft.com/office/officeart/2008/layout/LinedList"/>
    <dgm:cxn modelId="{22BFCDEB-715B-4ACE-8E1E-536DC610D2D7}" type="presParOf" srcId="{24F10148-E0AE-4102-9391-A09FA2220A45}" destId="{AB100650-8E24-46F8-BE50-D4A27E1150CB}" srcOrd="6" destOrd="0" presId="urn:microsoft.com/office/officeart/2008/layout/LinedList"/>
    <dgm:cxn modelId="{A1FE5E6B-4E54-477B-B713-44EFE5E55ABE}" type="presParOf" srcId="{24F10148-E0AE-4102-9391-A09FA2220A45}" destId="{BEB5286B-37BB-48D9-B53A-3173542566FB}" srcOrd="7" destOrd="0" presId="urn:microsoft.com/office/officeart/2008/layout/LinedList"/>
    <dgm:cxn modelId="{038D822E-01A5-4C36-97F6-06FA9680F661}" type="presParOf" srcId="{BEB5286B-37BB-48D9-B53A-3173542566FB}" destId="{9763B737-3F33-4541-9CCD-04AC20992158}" srcOrd="0" destOrd="0" presId="urn:microsoft.com/office/officeart/2008/layout/LinedList"/>
    <dgm:cxn modelId="{E54AD228-08DA-494D-987E-186A06BFA243}" type="presParOf" srcId="{BEB5286B-37BB-48D9-B53A-3173542566FB}" destId="{38D824E3-9F88-4F67-B5FC-734EAC73CC82}" srcOrd="1" destOrd="0" presId="urn:microsoft.com/office/officeart/2008/layout/LinedList"/>
    <dgm:cxn modelId="{0A06858F-D7F2-428C-94D4-7F212FFF29F8}" type="presParOf" srcId="{24F10148-E0AE-4102-9391-A09FA2220A45}" destId="{F554F090-EE53-4B9E-8E56-49F82955D093}" srcOrd="8" destOrd="0" presId="urn:microsoft.com/office/officeart/2008/layout/LinedList"/>
    <dgm:cxn modelId="{7BF1B9B2-0C4F-4710-B054-BBD3EE7D73D3}" type="presParOf" srcId="{24F10148-E0AE-4102-9391-A09FA2220A45}" destId="{661D5F8D-79DD-41C9-AD46-4ACABCB05CE7}" srcOrd="9" destOrd="0" presId="urn:microsoft.com/office/officeart/2008/layout/LinedList"/>
    <dgm:cxn modelId="{AB782571-7B03-478F-9C6A-7590CBCA8F9B}" type="presParOf" srcId="{661D5F8D-79DD-41C9-AD46-4ACABCB05CE7}" destId="{BD9EE721-CB63-4B0B-A2B1-F79BE51A1BAC}" srcOrd="0" destOrd="0" presId="urn:microsoft.com/office/officeart/2008/layout/LinedList"/>
    <dgm:cxn modelId="{6DA304CE-42C2-435F-855F-B29C620F68BC}" type="presParOf" srcId="{661D5F8D-79DD-41C9-AD46-4ACABCB05CE7}" destId="{556E2264-0CC8-4AC3-86A8-1C7CDFB5A418}" srcOrd="1" destOrd="0" presId="urn:microsoft.com/office/officeart/2008/layout/LinedList"/>
    <dgm:cxn modelId="{B2D57A81-77E2-4A18-9FF5-6EBA4544EEFE}" type="presParOf" srcId="{24F10148-E0AE-4102-9391-A09FA2220A45}" destId="{E531DDBA-C735-42F6-B68B-78F638DD2164}" srcOrd="10" destOrd="0" presId="urn:microsoft.com/office/officeart/2008/layout/LinedList"/>
    <dgm:cxn modelId="{17D47527-2675-4CE7-8EBA-3990F248D931}" type="presParOf" srcId="{24F10148-E0AE-4102-9391-A09FA2220A45}" destId="{C3986E9E-E650-47CD-B74D-791F739F6727}" srcOrd="11" destOrd="0" presId="urn:microsoft.com/office/officeart/2008/layout/LinedList"/>
    <dgm:cxn modelId="{73186162-0FE1-4F37-BED0-C25312E2FF25}" type="presParOf" srcId="{C3986E9E-E650-47CD-B74D-791F739F6727}" destId="{D34B5019-F337-46DF-9EBB-D8E7C4EB924B}" srcOrd="0" destOrd="0" presId="urn:microsoft.com/office/officeart/2008/layout/LinedList"/>
    <dgm:cxn modelId="{48C02A1C-13FD-44E7-9692-C3C83EEA54C1}" type="presParOf" srcId="{C3986E9E-E650-47CD-B74D-791F739F6727}" destId="{58A8718D-B41D-420E-80B9-B5FAC26E3AE9}" srcOrd="1" destOrd="0" presId="urn:microsoft.com/office/officeart/2008/layout/LinedList"/>
    <dgm:cxn modelId="{16EAF690-0779-4560-841E-5192A39DC6EF}" type="presParOf" srcId="{24F10148-E0AE-4102-9391-A09FA2220A45}" destId="{FD68C6AF-BF85-4D12-BC0A-1DC7FCFE6B86}" srcOrd="12" destOrd="0" presId="urn:microsoft.com/office/officeart/2008/layout/LinedList"/>
    <dgm:cxn modelId="{EFA1F553-AEF6-4DFE-AC72-4065CCB9463A}" type="presParOf" srcId="{24F10148-E0AE-4102-9391-A09FA2220A45}" destId="{FF3733A5-85E3-45BF-8005-8F4B4EBF7541}" srcOrd="13" destOrd="0" presId="urn:microsoft.com/office/officeart/2008/layout/LinedList"/>
    <dgm:cxn modelId="{410F7B21-DD06-46BD-93B3-72D2DA8C98FA}" type="presParOf" srcId="{FF3733A5-85E3-45BF-8005-8F4B4EBF7541}" destId="{90B48F1E-6037-47EA-8EA3-39D17387B64A}" srcOrd="0" destOrd="0" presId="urn:microsoft.com/office/officeart/2008/layout/LinedList"/>
    <dgm:cxn modelId="{2FED54C6-3202-4371-A90E-81E878B87B2E}" type="presParOf" srcId="{FF3733A5-85E3-45BF-8005-8F4B4EBF7541}" destId="{8CB67087-27BD-45EA-9591-6E9BC59C1F2D}" srcOrd="1" destOrd="0" presId="urn:microsoft.com/office/officeart/2008/layout/LinedList"/>
    <dgm:cxn modelId="{BCDDF5AB-1D83-4F98-ACE3-51904A97993F}" type="presParOf" srcId="{24F10148-E0AE-4102-9391-A09FA2220A45}" destId="{FB201CE1-CCC9-4C46-9282-B4ECEF357281}" srcOrd="14" destOrd="0" presId="urn:microsoft.com/office/officeart/2008/layout/LinedList"/>
    <dgm:cxn modelId="{44D0485B-93F7-41B7-9BA9-3698A9FA6733}" type="presParOf" srcId="{24F10148-E0AE-4102-9391-A09FA2220A45}" destId="{0458829D-9160-4D67-997B-5149247C789A}" srcOrd="15" destOrd="0" presId="urn:microsoft.com/office/officeart/2008/layout/LinedList"/>
    <dgm:cxn modelId="{A58A5986-8FED-4C51-8E0D-0DF2B31B009A}" type="presParOf" srcId="{0458829D-9160-4D67-997B-5149247C789A}" destId="{C5BA2BCA-E4C7-460F-B993-ADA7160DAED7}" srcOrd="0" destOrd="0" presId="urn:microsoft.com/office/officeart/2008/layout/LinedList"/>
    <dgm:cxn modelId="{93CCC9BF-BFC2-4920-9C36-613A10CD429C}" type="presParOf" srcId="{0458829D-9160-4D67-997B-5149247C789A}" destId="{C4815C1F-F2CA-421C-9146-D64E6C2E0A5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D1D7C2-30A5-4111-8175-192D7268DEB3}">
      <dsp:nvSpPr>
        <dsp:cNvPr id="0" name=""/>
        <dsp:cNvSpPr/>
      </dsp:nvSpPr>
      <dsp:spPr>
        <a:xfrm>
          <a:off x="805808" y="1147240"/>
          <a:ext cx="866742" cy="86674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22B1435-87FB-4229-B93B-C10A553627E4}">
      <dsp:nvSpPr>
        <dsp:cNvPr id="0" name=""/>
        <dsp:cNvSpPr/>
      </dsp:nvSpPr>
      <dsp:spPr>
        <a:xfrm>
          <a:off x="976" y="2094706"/>
          <a:ext cx="2476406" cy="371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90000"/>
            </a:lnSpc>
            <a:spcBef>
              <a:spcPct val="0"/>
            </a:spcBef>
            <a:spcAft>
              <a:spcPct val="35000"/>
            </a:spcAft>
            <a:buNone/>
            <a:defRPr b="1"/>
          </a:pPr>
          <a:r>
            <a:rPr lang="en-US" sz="2000" b="1" kern="1200" dirty="0"/>
            <a:t>22 </a:t>
          </a:r>
          <a:r>
            <a:rPr lang="en-US" sz="2000" kern="1200" dirty="0"/>
            <a:t>Automobile Crashes</a:t>
          </a:r>
        </a:p>
      </dsp:txBody>
      <dsp:txXfrm>
        <a:off x="976" y="2094706"/>
        <a:ext cx="2476406" cy="371460"/>
      </dsp:txXfrm>
    </dsp:sp>
    <dsp:sp modelId="{4065F4BD-4492-4940-9D51-E1437C6CE495}">
      <dsp:nvSpPr>
        <dsp:cNvPr id="0" name=""/>
        <dsp:cNvSpPr/>
      </dsp:nvSpPr>
      <dsp:spPr>
        <a:xfrm>
          <a:off x="976" y="2503713"/>
          <a:ext cx="2476406" cy="5208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dirty="0"/>
            <a:t>5 of those were Single Vehicle Crashes</a:t>
          </a:r>
        </a:p>
      </dsp:txBody>
      <dsp:txXfrm>
        <a:off x="976" y="2503713"/>
        <a:ext cx="2476406" cy="520829"/>
      </dsp:txXfrm>
    </dsp:sp>
    <dsp:sp modelId="{74422BC4-9780-46A7-9254-B1F403C01868}">
      <dsp:nvSpPr>
        <dsp:cNvPr id="0" name=""/>
        <dsp:cNvSpPr/>
      </dsp:nvSpPr>
      <dsp:spPr>
        <a:xfrm>
          <a:off x="3715585" y="1147240"/>
          <a:ext cx="866742" cy="86674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E21B4C4-A4B3-40B2-ADB5-F828FDDF398F}">
      <dsp:nvSpPr>
        <dsp:cNvPr id="0" name=""/>
        <dsp:cNvSpPr/>
      </dsp:nvSpPr>
      <dsp:spPr>
        <a:xfrm>
          <a:off x="2910753" y="2094706"/>
          <a:ext cx="2476406" cy="371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90000"/>
            </a:lnSpc>
            <a:spcBef>
              <a:spcPct val="0"/>
            </a:spcBef>
            <a:spcAft>
              <a:spcPct val="35000"/>
            </a:spcAft>
            <a:buNone/>
            <a:defRPr b="1"/>
          </a:pPr>
          <a:r>
            <a:rPr lang="en-US" sz="2000" b="1" kern="1200"/>
            <a:t>10</a:t>
          </a:r>
          <a:r>
            <a:rPr lang="en-US" sz="2000" kern="1200"/>
            <a:t> Struck-by crashes</a:t>
          </a:r>
        </a:p>
      </dsp:txBody>
      <dsp:txXfrm>
        <a:off x="2910753" y="2094706"/>
        <a:ext cx="2476406" cy="371460"/>
      </dsp:txXfrm>
    </dsp:sp>
    <dsp:sp modelId="{DD1BBC51-1125-4DAA-85E3-B2C9777BA315}">
      <dsp:nvSpPr>
        <dsp:cNvPr id="0" name=""/>
        <dsp:cNvSpPr/>
      </dsp:nvSpPr>
      <dsp:spPr>
        <a:xfrm>
          <a:off x="2910753" y="2503713"/>
          <a:ext cx="2476406" cy="520829"/>
        </a:xfrm>
        <a:prstGeom prst="rect">
          <a:avLst/>
        </a:prstGeom>
        <a:noFill/>
        <a:ln>
          <a:noFill/>
        </a:ln>
        <a:effectLst/>
      </dsp:spPr>
      <dsp:style>
        <a:lnRef idx="0">
          <a:scrgbClr r="0" g="0" b="0"/>
        </a:lnRef>
        <a:fillRef idx="0">
          <a:scrgbClr r="0" g="0" b="0"/>
        </a:fillRef>
        <a:effectRef idx="0">
          <a:scrgbClr r="0" g="0" b="0"/>
        </a:effectRef>
        <a:fontRef idx="minor"/>
      </dsp:style>
    </dsp:sp>
    <dsp:sp modelId="{CF87583E-C7BB-4EE1-9E61-7C352A0BDA85}">
      <dsp:nvSpPr>
        <dsp:cNvPr id="0" name=""/>
        <dsp:cNvSpPr/>
      </dsp:nvSpPr>
      <dsp:spPr>
        <a:xfrm>
          <a:off x="6625362" y="1147240"/>
          <a:ext cx="866742" cy="86674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30E3E9C-96A8-4A11-9500-405B19A9E8F5}">
      <dsp:nvSpPr>
        <dsp:cNvPr id="0" name=""/>
        <dsp:cNvSpPr/>
      </dsp:nvSpPr>
      <dsp:spPr>
        <a:xfrm>
          <a:off x="5820530" y="2094706"/>
          <a:ext cx="2476406" cy="371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90000"/>
            </a:lnSpc>
            <a:spcBef>
              <a:spcPct val="0"/>
            </a:spcBef>
            <a:spcAft>
              <a:spcPct val="35000"/>
            </a:spcAft>
            <a:buNone/>
            <a:defRPr b="1"/>
          </a:pPr>
          <a:r>
            <a:rPr lang="en-US" sz="2000" kern="1200" dirty="0"/>
            <a:t>5 Motorcycles Crashes</a:t>
          </a:r>
        </a:p>
      </dsp:txBody>
      <dsp:txXfrm>
        <a:off x="5820530" y="2094706"/>
        <a:ext cx="2476406" cy="371460"/>
      </dsp:txXfrm>
    </dsp:sp>
    <dsp:sp modelId="{4E008088-D1AF-405F-84AD-E747B154F1A3}">
      <dsp:nvSpPr>
        <dsp:cNvPr id="0" name=""/>
        <dsp:cNvSpPr/>
      </dsp:nvSpPr>
      <dsp:spPr>
        <a:xfrm>
          <a:off x="5820530" y="2503713"/>
          <a:ext cx="2476406" cy="5208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dirty="0"/>
            <a:t>3 of those were Single Vehicle Crashes</a:t>
          </a:r>
        </a:p>
      </dsp:txBody>
      <dsp:txXfrm>
        <a:off x="5820530" y="2503713"/>
        <a:ext cx="2476406" cy="5208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CE60B5-E783-40D7-A31E-12F2D9935CEE}">
      <dsp:nvSpPr>
        <dsp:cNvPr id="0" name=""/>
        <dsp:cNvSpPr/>
      </dsp:nvSpPr>
      <dsp:spPr>
        <a:xfrm>
          <a:off x="0" y="0"/>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18E8B8-AD98-411B-B824-6974F97A239E}">
      <dsp:nvSpPr>
        <dsp:cNvPr id="0" name=""/>
        <dsp:cNvSpPr/>
      </dsp:nvSpPr>
      <dsp:spPr>
        <a:xfrm>
          <a:off x="0" y="0"/>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Seat Belts</a:t>
          </a:r>
        </a:p>
      </dsp:txBody>
      <dsp:txXfrm>
        <a:off x="0" y="0"/>
        <a:ext cx="4040188" cy="485775"/>
      </dsp:txXfrm>
    </dsp:sp>
    <dsp:sp modelId="{BE759E26-FCB6-4D64-9BF5-D6F6052E3832}">
      <dsp:nvSpPr>
        <dsp:cNvPr id="0" name=""/>
        <dsp:cNvSpPr/>
      </dsp:nvSpPr>
      <dsp:spPr>
        <a:xfrm>
          <a:off x="0" y="485775"/>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01FB99-BC40-4FDF-9129-31EA2C6AD858}">
      <dsp:nvSpPr>
        <dsp:cNvPr id="0" name=""/>
        <dsp:cNvSpPr/>
      </dsp:nvSpPr>
      <dsp:spPr>
        <a:xfrm>
          <a:off x="0" y="485775"/>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Complacency</a:t>
          </a:r>
        </a:p>
      </dsp:txBody>
      <dsp:txXfrm>
        <a:off x="0" y="485775"/>
        <a:ext cx="4040188" cy="485775"/>
      </dsp:txXfrm>
    </dsp:sp>
    <dsp:sp modelId="{1DC45FC5-EF93-41E1-A80A-AFDE7C8B8D0F}">
      <dsp:nvSpPr>
        <dsp:cNvPr id="0" name=""/>
        <dsp:cNvSpPr/>
      </dsp:nvSpPr>
      <dsp:spPr>
        <a:xfrm>
          <a:off x="0" y="971550"/>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BE0B9C5-5897-42D4-B133-2A6E37143DB7}">
      <dsp:nvSpPr>
        <dsp:cNvPr id="0" name=""/>
        <dsp:cNvSpPr/>
      </dsp:nvSpPr>
      <dsp:spPr>
        <a:xfrm>
          <a:off x="0" y="971550"/>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Fatigue</a:t>
          </a:r>
        </a:p>
      </dsp:txBody>
      <dsp:txXfrm>
        <a:off x="0" y="971550"/>
        <a:ext cx="4040188" cy="485775"/>
      </dsp:txXfrm>
    </dsp:sp>
    <dsp:sp modelId="{AB100650-8E24-46F8-BE50-D4A27E1150CB}">
      <dsp:nvSpPr>
        <dsp:cNvPr id="0" name=""/>
        <dsp:cNvSpPr/>
      </dsp:nvSpPr>
      <dsp:spPr>
        <a:xfrm>
          <a:off x="0" y="1457325"/>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63B737-3F33-4541-9CCD-04AC20992158}">
      <dsp:nvSpPr>
        <dsp:cNvPr id="0" name=""/>
        <dsp:cNvSpPr/>
      </dsp:nvSpPr>
      <dsp:spPr>
        <a:xfrm>
          <a:off x="0" y="1457325"/>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TDDs</a:t>
          </a:r>
        </a:p>
      </dsp:txBody>
      <dsp:txXfrm>
        <a:off x="0" y="1457325"/>
        <a:ext cx="4040188" cy="485775"/>
      </dsp:txXfrm>
    </dsp:sp>
    <dsp:sp modelId="{F554F090-EE53-4B9E-8E56-49F82955D093}">
      <dsp:nvSpPr>
        <dsp:cNvPr id="0" name=""/>
        <dsp:cNvSpPr/>
      </dsp:nvSpPr>
      <dsp:spPr>
        <a:xfrm>
          <a:off x="0" y="1943100"/>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9EE721-CB63-4B0B-A2B1-F79BE51A1BAC}">
      <dsp:nvSpPr>
        <dsp:cNvPr id="0" name=""/>
        <dsp:cNvSpPr/>
      </dsp:nvSpPr>
      <dsp:spPr>
        <a:xfrm>
          <a:off x="0" y="1943100"/>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Training</a:t>
          </a:r>
        </a:p>
      </dsp:txBody>
      <dsp:txXfrm>
        <a:off x="0" y="1943100"/>
        <a:ext cx="4040188" cy="485775"/>
      </dsp:txXfrm>
    </dsp:sp>
    <dsp:sp modelId="{E531DDBA-C735-42F6-B68B-78F638DD2164}">
      <dsp:nvSpPr>
        <dsp:cNvPr id="0" name=""/>
        <dsp:cNvSpPr/>
      </dsp:nvSpPr>
      <dsp:spPr>
        <a:xfrm>
          <a:off x="0" y="2428875"/>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4B5019-F337-46DF-9EBB-D8E7C4EB924B}">
      <dsp:nvSpPr>
        <dsp:cNvPr id="0" name=""/>
        <dsp:cNvSpPr/>
      </dsp:nvSpPr>
      <dsp:spPr>
        <a:xfrm>
          <a:off x="0" y="2428875"/>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Right-side approaches</a:t>
          </a:r>
        </a:p>
      </dsp:txBody>
      <dsp:txXfrm>
        <a:off x="0" y="2428875"/>
        <a:ext cx="4040188" cy="485775"/>
      </dsp:txXfrm>
    </dsp:sp>
    <dsp:sp modelId="{FD68C6AF-BF85-4D12-BC0A-1DC7FCFE6B86}">
      <dsp:nvSpPr>
        <dsp:cNvPr id="0" name=""/>
        <dsp:cNvSpPr/>
      </dsp:nvSpPr>
      <dsp:spPr>
        <a:xfrm>
          <a:off x="0" y="2914650"/>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B48F1E-6037-47EA-8EA3-39D17387B64A}">
      <dsp:nvSpPr>
        <dsp:cNvPr id="0" name=""/>
        <dsp:cNvSpPr/>
      </dsp:nvSpPr>
      <dsp:spPr>
        <a:xfrm>
          <a:off x="0" y="2914650"/>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Body Armor</a:t>
          </a:r>
        </a:p>
      </dsp:txBody>
      <dsp:txXfrm>
        <a:off x="0" y="2914650"/>
        <a:ext cx="4040188" cy="485775"/>
      </dsp:txXfrm>
    </dsp:sp>
    <dsp:sp modelId="{FB201CE1-CCC9-4C46-9282-B4ECEF357281}">
      <dsp:nvSpPr>
        <dsp:cNvPr id="0" name=""/>
        <dsp:cNvSpPr/>
      </dsp:nvSpPr>
      <dsp:spPr>
        <a:xfrm>
          <a:off x="0" y="3400425"/>
          <a:ext cx="404018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BA2BCA-E4C7-460F-B993-ADA7160DAED7}">
      <dsp:nvSpPr>
        <dsp:cNvPr id="0" name=""/>
        <dsp:cNvSpPr/>
      </dsp:nvSpPr>
      <dsp:spPr>
        <a:xfrm>
          <a:off x="0" y="3400425"/>
          <a:ext cx="4040188" cy="48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Being Seen</a:t>
          </a:r>
        </a:p>
      </dsp:txBody>
      <dsp:txXfrm>
        <a:off x="0" y="3400425"/>
        <a:ext cx="4040188" cy="485775"/>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F3ACD1C-1E52-4360-AE55-35AAA24EFFCD}" type="datetimeFigureOut">
              <a:rPr lang="en-US" smtClean="0"/>
              <a:t>1/27/202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BC1A9AF-8D61-40CA-AF69-C01B431FC9CB}" type="slidenum">
              <a:rPr lang="en-US" smtClean="0"/>
              <a:t>‹#›</a:t>
            </a:fld>
            <a:endParaRPr lang="en-US"/>
          </a:p>
        </p:txBody>
      </p:sp>
    </p:spTree>
    <p:extLst>
      <p:ext uri="{BB962C8B-B14F-4D97-AF65-F5344CB8AC3E}">
        <p14:creationId xmlns:p14="http://schemas.microsoft.com/office/powerpoint/2010/main" val="1859235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a:t>
            </a:fld>
            <a:endParaRPr lang="en-US"/>
          </a:p>
        </p:txBody>
      </p:sp>
    </p:spTree>
    <p:extLst>
      <p:ext uri="{BB962C8B-B14F-4D97-AF65-F5344CB8AC3E}">
        <p14:creationId xmlns:p14="http://schemas.microsoft.com/office/powerpoint/2010/main" val="1290032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23, the numbers of auto</a:t>
            </a:r>
            <a:r>
              <a:rPr lang="en-US" baseline="0" dirty="0"/>
              <a:t> crashes were 29% lower than 2022.  2023, saw the lowest number of auto crashes in 12 years of data.</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0</a:t>
            </a:fld>
            <a:endParaRPr lang="en-US"/>
          </a:p>
        </p:txBody>
      </p:sp>
    </p:spTree>
    <p:extLst>
      <p:ext uri="{BB962C8B-B14F-4D97-AF65-F5344CB8AC3E}">
        <p14:creationId xmlns:p14="http://schemas.microsoft.com/office/powerpoint/2010/main" val="12190658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of these cases</a:t>
            </a:r>
            <a:r>
              <a:rPr lang="en-US" baseline="0" dirty="0"/>
              <a:t> were the result of an intentional ramming by suspects.  The rear-end collision was the officer who rear-ended </a:t>
            </a:r>
            <a:r>
              <a:rPr lang="en-US" baseline="0"/>
              <a:t>a truck.</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1</a:t>
            </a:fld>
            <a:endParaRPr lang="en-US"/>
          </a:p>
        </p:txBody>
      </p:sp>
    </p:spTree>
    <p:extLst>
      <p:ext uri="{BB962C8B-B14F-4D97-AF65-F5344CB8AC3E}">
        <p14:creationId xmlns:p14="http://schemas.microsoft.com/office/powerpoint/2010/main" val="1621655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ll not completed the full analysis</a:t>
            </a:r>
            <a:r>
              <a:rPr lang="en-US" baseline="0" dirty="0"/>
              <a:t> as the cases have not been presented.  Out of 22 automobile crashes </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2</a:t>
            </a:fld>
            <a:endParaRPr lang="en-US"/>
          </a:p>
        </p:txBody>
      </p:sp>
    </p:spTree>
    <p:extLst>
      <p:ext uri="{BB962C8B-B14F-4D97-AF65-F5344CB8AC3E}">
        <p14:creationId xmlns:p14="http://schemas.microsoft.com/office/powerpoint/2010/main" val="391922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se is an open hit and</a:t>
            </a:r>
            <a:r>
              <a:rPr lang="en-US" baseline="0" dirty="0"/>
              <a:t> run in Texas.  The officer rear-ended a suddenly stopped car forcing him off of his bike and he was run over by another vehicle on the left lane and shoulder.  </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3</a:t>
            </a:fld>
            <a:endParaRPr lang="en-US"/>
          </a:p>
        </p:txBody>
      </p:sp>
    </p:spTree>
    <p:extLst>
      <p:ext uri="{BB962C8B-B14F-4D97-AF65-F5344CB8AC3E}">
        <p14:creationId xmlns:p14="http://schemas.microsoft.com/office/powerpoint/2010/main" val="2415913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One case involved two State Troopers.  Two of the TDD deaths were from the same agency, but separate incidences.  A parole officer was run over. And one of the TDD cases it is alleged that the driver intentionally hit the officer.  </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4</a:t>
            </a:fld>
            <a:endParaRPr lang="en-US"/>
          </a:p>
        </p:txBody>
      </p:sp>
    </p:spTree>
    <p:extLst>
      <p:ext uri="{BB962C8B-B14F-4D97-AF65-F5344CB8AC3E}">
        <p14:creationId xmlns:p14="http://schemas.microsoft.com/office/powerpoint/2010/main" val="4082410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ed to </a:t>
            </a:r>
            <a:r>
              <a:rPr lang="en-US" baseline="0" dirty="0"/>
              <a:t> a high of 27 from 2021 to 10, represents a 63% reduction.  Just added another case, but It is shoe horned into this category.   The officer stopped at a crash scene to help and the car rolled back over him.</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5</a:t>
            </a:fld>
            <a:endParaRPr lang="en-US"/>
          </a:p>
        </p:txBody>
      </p:sp>
    </p:spTree>
    <p:extLst>
      <p:ext uri="{BB962C8B-B14F-4D97-AF65-F5344CB8AC3E}">
        <p14:creationId xmlns:p14="http://schemas.microsoft.com/office/powerpoint/2010/main" val="13010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ed to 2022, when the CVVFA recorded 51 struck-by fatalities.  *They count school crossing guards, and other non-sworn law enforcement entities in their numbers.  A small reduction, but a reduction nonetheless.  </a:t>
            </a:r>
          </a:p>
        </p:txBody>
      </p:sp>
      <p:sp>
        <p:nvSpPr>
          <p:cNvPr id="4" name="Slide Number Placeholder 3"/>
          <p:cNvSpPr>
            <a:spLocks noGrp="1"/>
          </p:cNvSpPr>
          <p:nvPr>
            <p:ph type="sldNum" sz="quarter" idx="5"/>
          </p:nvPr>
        </p:nvSpPr>
        <p:spPr/>
        <p:txBody>
          <a:bodyPr/>
          <a:lstStyle/>
          <a:p>
            <a:fld id="{8BC1A9AF-8D61-40CA-AF69-C01B431FC9CB}" type="slidenum">
              <a:rPr lang="en-US" smtClean="0"/>
              <a:t>16</a:t>
            </a:fld>
            <a:endParaRPr lang="en-US"/>
          </a:p>
        </p:txBody>
      </p:sp>
    </p:spTree>
    <p:extLst>
      <p:ext uri="{BB962C8B-B14F-4D97-AF65-F5344CB8AC3E}">
        <p14:creationId xmlns:p14="http://schemas.microsoft.com/office/powerpoint/2010/main" val="5037852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es, Officers can</a:t>
            </a:r>
            <a:r>
              <a:rPr lang="en-US" baseline="0" dirty="0"/>
              <a:t> be distracted drivers and we have seen in the past that they can make mistakes that have resulted in a fatal crash.   One officer rear-ended a vehicle and another failed to yield the right of way to a truck and another was a merge crash.  </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17</a:t>
            </a:fld>
            <a:endParaRPr lang="en-US"/>
          </a:p>
        </p:txBody>
      </p:sp>
    </p:spTree>
    <p:extLst>
      <p:ext uri="{BB962C8B-B14F-4D97-AF65-F5344CB8AC3E}">
        <p14:creationId xmlns:p14="http://schemas.microsoft.com/office/powerpoint/2010/main" val="117620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diana State Troopers Arron Smith and Master Trooper James Bailey</a:t>
            </a:r>
          </a:p>
        </p:txBody>
      </p:sp>
      <p:sp>
        <p:nvSpPr>
          <p:cNvPr id="4" name="Slide Number Placeholder 3"/>
          <p:cNvSpPr>
            <a:spLocks noGrp="1"/>
          </p:cNvSpPr>
          <p:nvPr>
            <p:ph type="sldNum" sz="quarter" idx="5"/>
          </p:nvPr>
        </p:nvSpPr>
        <p:spPr/>
        <p:txBody>
          <a:bodyPr/>
          <a:lstStyle/>
          <a:p>
            <a:fld id="{8BC1A9AF-8D61-40CA-AF69-C01B431FC9CB}" type="slidenum">
              <a:rPr lang="en-US" smtClean="0"/>
              <a:t>18</a:t>
            </a:fld>
            <a:endParaRPr lang="en-US"/>
          </a:p>
        </p:txBody>
      </p:sp>
    </p:spTree>
    <p:extLst>
      <p:ext uri="{BB962C8B-B14F-4D97-AF65-F5344CB8AC3E}">
        <p14:creationId xmlns:p14="http://schemas.microsoft.com/office/powerpoint/2010/main" val="4175910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nly three of the fatalities, meaning the officers deploying, did the suspect vehicle tires get punctured.  </a:t>
            </a:r>
          </a:p>
        </p:txBody>
      </p:sp>
      <p:sp>
        <p:nvSpPr>
          <p:cNvPr id="4" name="Slide Number Placeholder 3"/>
          <p:cNvSpPr>
            <a:spLocks noGrp="1"/>
          </p:cNvSpPr>
          <p:nvPr>
            <p:ph type="sldNum" sz="quarter" idx="5"/>
          </p:nvPr>
        </p:nvSpPr>
        <p:spPr/>
        <p:txBody>
          <a:bodyPr/>
          <a:lstStyle/>
          <a:p>
            <a:fld id="{8BC1A9AF-8D61-40CA-AF69-C01B431FC9CB}" type="slidenum">
              <a:rPr lang="en-US" smtClean="0"/>
              <a:t>21</a:t>
            </a:fld>
            <a:endParaRPr lang="en-US"/>
          </a:p>
        </p:txBody>
      </p:sp>
    </p:spTree>
    <p:extLst>
      <p:ext uri="{BB962C8B-B14F-4D97-AF65-F5344CB8AC3E}">
        <p14:creationId xmlns:p14="http://schemas.microsoft.com/office/powerpoint/2010/main" val="703832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dlelight vigil, every year</a:t>
            </a:r>
            <a:r>
              <a:rPr lang="en-US" baseline="0" dirty="0"/>
              <a:t> on the National Mall added 224 names. </a:t>
            </a:r>
            <a:r>
              <a:rPr lang="en-US" dirty="0"/>
              <a:t>Names of 2023 LODDs added to the “Deck” of a </a:t>
            </a:r>
            <a:r>
              <a:rPr lang="en-US" dirty="0" err="1"/>
              <a:t>Whelen</a:t>
            </a:r>
            <a:r>
              <a:rPr lang="en-US" dirty="0"/>
              <a:t> Stock car. </a:t>
            </a:r>
            <a:r>
              <a:rPr lang="en-US" baseline="0" dirty="0"/>
              <a:t> 2</a:t>
            </a:r>
            <a:r>
              <a:rPr lang="en-US" baseline="30000" dirty="0"/>
              <a:t>nd</a:t>
            </a:r>
            <a:r>
              <a:rPr lang="en-US" baseline="0" dirty="0"/>
              <a:t> year in a row they did that.  Joint Traffic Safety Summit in Linthicum, Maryland, Visited multiple conferences and association meetings.  Added an Honor Chair to the Museum. (An empty chair to signify the lost).  The museum hosted several events</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2</a:t>
            </a:fld>
            <a:endParaRPr lang="en-US"/>
          </a:p>
        </p:txBody>
      </p:sp>
    </p:spTree>
    <p:extLst>
      <p:ext uri="{BB962C8B-B14F-4D97-AF65-F5344CB8AC3E}">
        <p14:creationId xmlns:p14="http://schemas.microsoft.com/office/powerpoint/2010/main" val="3271714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latest fatality study of five years of data, 47% of officers in crashes were not wearing their seat belt.  We train regularly with our firearms and tactically, but many agencies do not routinely train and refresh officers on safe driving habits and roadside safety and incorporate TIM.  Right-side approaches, wearing you body armor, it protects you in struck incidents and crashes, not just from gunfire.  Visibility vest, scene lighting, vehicle markings and emergency lights.  </a:t>
            </a:r>
          </a:p>
        </p:txBody>
      </p:sp>
      <p:sp>
        <p:nvSpPr>
          <p:cNvPr id="4" name="Slide Number Placeholder 3"/>
          <p:cNvSpPr>
            <a:spLocks noGrp="1"/>
          </p:cNvSpPr>
          <p:nvPr>
            <p:ph type="sldNum" sz="quarter" idx="5"/>
          </p:nvPr>
        </p:nvSpPr>
        <p:spPr/>
        <p:txBody>
          <a:bodyPr/>
          <a:lstStyle/>
          <a:p>
            <a:fld id="{8BC1A9AF-8D61-40CA-AF69-C01B431FC9CB}" type="slidenum">
              <a:rPr lang="en-US" smtClean="0"/>
              <a:t>23</a:t>
            </a:fld>
            <a:endParaRPr lang="en-US"/>
          </a:p>
        </p:txBody>
      </p:sp>
    </p:spTree>
    <p:extLst>
      <p:ext uri="{BB962C8B-B14F-4D97-AF65-F5344CB8AC3E}">
        <p14:creationId xmlns:p14="http://schemas.microsoft.com/office/powerpoint/2010/main" val="4218963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ons 6 and 4 led the way in the first quarter of 2022, region 6 and 4 lead again in 2023.   Region 4, had 11 cases of traffic fatalities out of a total of 37. </a:t>
            </a:r>
          </a:p>
        </p:txBody>
      </p:sp>
      <p:sp>
        <p:nvSpPr>
          <p:cNvPr id="4" name="Slide Number Placeholder 3"/>
          <p:cNvSpPr>
            <a:spLocks noGrp="1"/>
          </p:cNvSpPr>
          <p:nvPr>
            <p:ph type="sldNum" sz="quarter" idx="10"/>
          </p:nvPr>
        </p:nvSpPr>
        <p:spPr/>
        <p:txBody>
          <a:bodyPr/>
          <a:lstStyle/>
          <a:p>
            <a:fld id="{D4394931-E5E7-4404-B8E9-0886CD5FB654}" type="slidenum">
              <a:rPr lang="en-US" smtClean="0"/>
              <a:t>24</a:t>
            </a:fld>
            <a:endParaRPr lang="en-US"/>
          </a:p>
        </p:txBody>
      </p:sp>
    </p:spTree>
    <p:extLst>
      <p:ext uri="{BB962C8B-B14F-4D97-AF65-F5344CB8AC3E}">
        <p14:creationId xmlns:p14="http://schemas.microsoft.com/office/powerpoint/2010/main" val="3049768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o respondersafety.com  top navigation bar “Struck-by &amp; near miss”</a:t>
            </a:r>
          </a:p>
        </p:txBody>
      </p:sp>
      <p:sp>
        <p:nvSpPr>
          <p:cNvPr id="4" name="Slide Number Placeholder 3"/>
          <p:cNvSpPr>
            <a:spLocks noGrp="1"/>
          </p:cNvSpPr>
          <p:nvPr>
            <p:ph type="sldNum" sz="quarter" idx="5"/>
          </p:nvPr>
        </p:nvSpPr>
        <p:spPr/>
        <p:txBody>
          <a:bodyPr/>
          <a:lstStyle/>
          <a:p>
            <a:fld id="{8BC1A9AF-8D61-40CA-AF69-C01B431FC9CB}" type="slidenum">
              <a:rPr lang="en-US" smtClean="0"/>
              <a:t>25</a:t>
            </a:fld>
            <a:endParaRPr lang="en-US"/>
          </a:p>
        </p:txBody>
      </p:sp>
    </p:spTree>
    <p:extLst>
      <p:ext uri="{BB962C8B-B14F-4D97-AF65-F5344CB8AC3E}">
        <p14:creationId xmlns:p14="http://schemas.microsoft.com/office/powerpoint/2010/main" val="30136820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a:ln/>
        </p:spPr>
        <p:txBody>
          <a:bodyPr/>
          <a:lstStyle/>
          <a:p>
            <a:endParaRPr lang="en-US"/>
          </a:p>
        </p:txBody>
      </p:sp>
      <p:sp>
        <p:nvSpPr>
          <p:cNvPr id="4" name="Slide Number Placeholder 3"/>
          <p:cNvSpPr>
            <a:spLocks noGrp="1"/>
          </p:cNvSpPr>
          <p:nvPr>
            <p:ph type="sldNum" sz="quarter" idx="5"/>
          </p:nvPr>
        </p:nvSpPr>
        <p:spPr/>
        <p:txBody>
          <a:bodyPr/>
          <a:lstStyle/>
          <a:p>
            <a:pPr>
              <a:defRPr/>
            </a:pPr>
            <a:fld id="{36649282-C982-4199-8878-317188751161}" type="slidenum">
              <a:rPr lang="en-US" smtClean="0"/>
              <a:pPr>
                <a:defRPr/>
              </a:pPr>
              <a:t>26</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all LODD’s are down 39% in 2023.  25% decrease in Firearms related deaths, and a 53% decease in the “Other” category which includes Covid related deaths, as well as cardiac cases, and other infrequent causes, such as electrocution, fire, strangled, stabbed.  23,921 Names on </a:t>
            </a:r>
            <a:r>
              <a:rPr lang="en-US"/>
              <a:t>the wall.</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3</a:t>
            </a:fld>
            <a:endParaRPr lang="en-US"/>
          </a:p>
        </p:txBody>
      </p:sp>
    </p:spTree>
    <p:extLst>
      <p:ext uri="{BB962C8B-B14F-4D97-AF65-F5344CB8AC3E}">
        <p14:creationId xmlns:p14="http://schemas.microsoft.com/office/powerpoint/2010/main" val="2864019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ed a report or white paper on the use of TDDs, which I will talk about last.</a:t>
            </a:r>
          </a:p>
        </p:txBody>
      </p:sp>
      <p:sp>
        <p:nvSpPr>
          <p:cNvPr id="4" name="Slide Number Placeholder 3"/>
          <p:cNvSpPr>
            <a:spLocks noGrp="1"/>
          </p:cNvSpPr>
          <p:nvPr>
            <p:ph type="sldNum" sz="quarter" idx="5"/>
          </p:nvPr>
        </p:nvSpPr>
        <p:spPr/>
        <p:txBody>
          <a:bodyPr/>
          <a:lstStyle/>
          <a:p>
            <a:fld id="{8BC1A9AF-8D61-40CA-AF69-C01B431FC9CB}" type="slidenum">
              <a:rPr lang="en-US" smtClean="0"/>
              <a:t>4</a:t>
            </a:fld>
            <a:endParaRPr lang="en-US"/>
          </a:p>
        </p:txBody>
      </p:sp>
    </p:spTree>
    <p:extLst>
      <p:ext uri="{BB962C8B-B14F-4D97-AF65-F5344CB8AC3E}">
        <p14:creationId xmlns:p14="http://schemas.microsoft.com/office/powerpoint/2010/main" val="2669055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p:spPr>
        <p:txBody>
          <a:bodyPr/>
          <a:lstStyle/>
          <a:p>
            <a:r>
              <a:rPr lang="en-US" dirty="0"/>
              <a:t>The</a:t>
            </a:r>
            <a:r>
              <a:rPr lang="en-US" baseline="0" dirty="0"/>
              <a:t> highest firearms year was 67 Shot and killed in 2016 and 2021.  A total of 578 officers have been shot and killed since 2012 and a total of 553 killed in traffic related incidents since 2012, not including 2023 numbers.  2023, showed significant reductions in fatalities in firearms deaths and crashes.  The FOP recently listed 350 officers shot and wounded.  So, we could have survived more assaults due to body armor, tourniquets, and better tactics.  Crashes could be reduced due to better practices.  Such as right-side approaches, which we saw saved he FFX officer’s life.</a:t>
            </a:r>
            <a:endParaRPr lang="en-US" dirty="0"/>
          </a:p>
        </p:txBody>
      </p:sp>
      <p:sp>
        <p:nvSpPr>
          <p:cNvPr id="56324" name="Slide Number Placeholder 3"/>
          <p:cNvSpPr>
            <a:spLocks noGrp="1"/>
          </p:cNvSpPr>
          <p:nvPr>
            <p:ph type="sldNum" sz="quarter" idx="5"/>
          </p:nvPr>
        </p:nvSpPr>
        <p:spPr/>
        <p:txBody>
          <a:bodyPr/>
          <a:lstStyle/>
          <a:p>
            <a:pPr>
              <a:defRPr/>
            </a:pPr>
            <a:fld id="{1C8A9A3F-6DA0-4E16-B944-066127F8DB49}" type="slidenum">
              <a:rPr lang="en-US" smtClean="0"/>
              <a:pPr>
                <a:defRPr/>
              </a:pPr>
              <a:t>5</a:t>
            </a:fld>
            <a:endParaRPr lang="en-US"/>
          </a:p>
        </p:txBody>
      </p:sp>
    </p:spTree>
    <p:extLst>
      <p:ext uri="{BB962C8B-B14F-4D97-AF65-F5344CB8AC3E}">
        <p14:creationId xmlns:p14="http://schemas.microsoft.com/office/powerpoint/2010/main" val="877299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ed to the 4</a:t>
            </a:r>
            <a:r>
              <a:rPr lang="en-US" baseline="30000" dirty="0"/>
              <a:t>th</a:t>
            </a:r>
            <a:r>
              <a:rPr lang="en-US" dirty="0"/>
              <a:t> quarter of 2022,</a:t>
            </a:r>
            <a:r>
              <a:rPr lang="en-US" baseline="0" dirty="0"/>
              <a:t> when there were a total of 13 fatal incidents.  In 2022, there were 7 auto crashes, 3 struck-by crashes and 3 motorcycles crashes.</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6</a:t>
            </a:fld>
            <a:endParaRPr lang="en-US"/>
          </a:p>
        </p:txBody>
      </p:sp>
    </p:spTree>
    <p:extLst>
      <p:ext uri="{BB962C8B-B14F-4D97-AF65-F5344CB8AC3E}">
        <p14:creationId xmlns:p14="http://schemas.microsoft.com/office/powerpoint/2010/main" val="9343393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10 struck by cases, one that was added late, while it is related to traffic it was not a typical “Struck-by” circumstance.  </a:t>
            </a:r>
          </a:p>
        </p:txBody>
      </p:sp>
      <p:sp>
        <p:nvSpPr>
          <p:cNvPr id="4" name="Slide Number Placeholder 3"/>
          <p:cNvSpPr>
            <a:spLocks noGrp="1"/>
          </p:cNvSpPr>
          <p:nvPr>
            <p:ph type="sldNum" sz="quarter" idx="5"/>
          </p:nvPr>
        </p:nvSpPr>
        <p:spPr/>
        <p:txBody>
          <a:bodyPr/>
          <a:lstStyle/>
          <a:p>
            <a:fld id="{8BC1A9AF-8D61-40CA-AF69-C01B431FC9CB}" type="slidenum">
              <a:rPr lang="en-US" smtClean="0"/>
              <a:t>7</a:t>
            </a:fld>
            <a:endParaRPr lang="en-US"/>
          </a:p>
        </p:txBody>
      </p:sp>
    </p:spTree>
    <p:extLst>
      <p:ext uri="{BB962C8B-B14F-4D97-AF65-F5344CB8AC3E}">
        <p14:creationId xmlns:p14="http://schemas.microsoft.com/office/powerpoint/2010/main" val="2645291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e</a:t>
            </a:r>
            <a:r>
              <a:rPr lang="en-US" baseline="0" dirty="0"/>
              <a:t> officers killed were recruits or rookies with less than a year on.  The average age was 41 and the average years in services was 14.  One officer had been on the job for 5 days.  Why was he alone on a vehicle?  </a:t>
            </a:r>
            <a:endParaRPr lang="en-US" dirty="0"/>
          </a:p>
        </p:txBody>
      </p:sp>
      <p:sp>
        <p:nvSpPr>
          <p:cNvPr id="4" name="Slide Number Placeholder 3"/>
          <p:cNvSpPr>
            <a:spLocks noGrp="1"/>
          </p:cNvSpPr>
          <p:nvPr>
            <p:ph type="sldNum" sz="quarter" idx="5"/>
          </p:nvPr>
        </p:nvSpPr>
        <p:spPr/>
        <p:txBody>
          <a:bodyPr/>
          <a:lstStyle/>
          <a:p>
            <a:fld id="{8BC1A9AF-8D61-40CA-AF69-C01B431FC9CB}" type="slidenum">
              <a:rPr lang="en-US" smtClean="0"/>
              <a:t>8</a:t>
            </a:fld>
            <a:endParaRPr lang="en-US"/>
          </a:p>
        </p:txBody>
      </p:sp>
    </p:spTree>
    <p:extLst>
      <p:ext uri="{BB962C8B-B14F-4D97-AF65-F5344CB8AC3E}">
        <p14:creationId xmlns:p14="http://schemas.microsoft.com/office/powerpoint/2010/main" val="3344807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appears that nearly all of the response cases involved officers expediting, or running code to the scene or back up.</a:t>
            </a:r>
          </a:p>
        </p:txBody>
      </p:sp>
      <p:sp>
        <p:nvSpPr>
          <p:cNvPr id="4" name="Slide Number Placeholder 3"/>
          <p:cNvSpPr>
            <a:spLocks noGrp="1"/>
          </p:cNvSpPr>
          <p:nvPr>
            <p:ph type="sldNum" sz="quarter" idx="5"/>
          </p:nvPr>
        </p:nvSpPr>
        <p:spPr/>
        <p:txBody>
          <a:bodyPr/>
          <a:lstStyle/>
          <a:p>
            <a:fld id="{8BC1A9AF-8D61-40CA-AF69-C01B431FC9CB}" type="slidenum">
              <a:rPr lang="en-US" smtClean="0"/>
              <a:t>9</a:t>
            </a:fld>
            <a:endParaRPr lang="en-US"/>
          </a:p>
        </p:txBody>
      </p:sp>
    </p:spTree>
    <p:extLst>
      <p:ext uri="{BB962C8B-B14F-4D97-AF65-F5344CB8AC3E}">
        <p14:creationId xmlns:p14="http://schemas.microsoft.com/office/powerpoint/2010/main" val="32951671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38200"/>
            <a:ext cx="7772400" cy="1470025"/>
          </a:xfrm>
        </p:spPr>
        <p:txBody>
          <a:bodyPr/>
          <a:lstStyle>
            <a:lvl1pPr>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71600" y="2593975"/>
            <a:ext cx="6400800" cy="1752600"/>
          </a:xfrm>
        </p:spPr>
        <p:txBody>
          <a:bodyPr/>
          <a:lstStyle>
            <a:lvl1pPr marL="0" indent="0" algn="ctr">
              <a:buNone/>
              <a:defRPr>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5DAD15A-54AE-46E8-90AA-18C3E8B828DE}" type="datetimeFigureOut">
              <a:rPr lang="en-US" smtClean="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2099090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DAD15A-54AE-46E8-90AA-18C3E8B828DE}" type="datetimeFigureOut">
              <a:rPr lang="en-US" smtClean="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2300330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0"/>
            <a:ext cx="2057400" cy="5211763"/>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457200" y="914400"/>
            <a:ext cx="6019800" cy="52117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DAD15A-54AE-46E8-90AA-18C3E8B828DE}" type="datetimeFigureOut">
              <a:rPr lang="en-US" smtClean="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888084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DAD15A-54AE-46E8-90AA-18C3E8B828DE}" type="datetimeFigureOut">
              <a:rPr lang="en-US" smtClean="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73042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5DAD15A-54AE-46E8-90AA-18C3E8B828DE}" type="datetimeFigureOut">
              <a:rPr lang="en-US" smtClean="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2115880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81200"/>
            <a:ext cx="4038600" cy="4144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981200"/>
            <a:ext cx="4038600" cy="4144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65DAD15A-54AE-46E8-90AA-18C3E8B828DE}" type="datetimeFigureOut">
              <a:rPr lang="en-US" smtClean="0"/>
              <a:t>1/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2349948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2027238"/>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666999"/>
            <a:ext cx="4040188" cy="3459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8200" y="2027238"/>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2666999"/>
            <a:ext cx="4041775" cy="3459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65DAD15A-54AE-46E8-90AA-18C3E8B828DE}" type="datetimeFigureOut">
              <a:rPr lang="en-US" smtClean="0"/>
              <a:t>1/2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2211673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5DAD15A-54AE-46E8-90AA-18C3E8B828DE}" type="datetimeFigureOut">
              <a:rPr lang="en-US" smtClean="0"/>
              <a:t>1/2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3142570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DAD15A-54AE-46E8-90AA-18C3E8B828DE}" type="datetimeFigureOut">
              <a:rPr lang="en-US" smtClean="0"/>
              <a:t>1/2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11912757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5DAD15A-54AE-46E8-90AA-18C3E8B828DE}" type="datetimeFigureOut">
              <a:rPr lang="en-US" smtClean="0"/>
              <a:t>1/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15023501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838199"/>
            <a:ext cx="5486400" cy="38893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5DAD15A-54AE-46E8-90AA-18C3E8B828DE}" type="datetimeFigureOut">
              <a:rPr lang="en-US" smtClean="0"/>
              <a:t>1/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FF47BD-BBD6-4C8D-9998-AA895B1F4B0C}" type="slidenum">
              <a:rPr lang="en-US" smtClean="0"/>
              <a:t>‹#›</a:t>
            </a:fld>
            <a:endParaRPr lang="en-US"/>
          </a:p>
        </p:txBody>
      </p:sp>
    </p:spTree>
    <p:extLst>
      <p:ext uri="{BB962C8B-B14F-4D97-AF65-F5344CB8AC3E}">
        <p14:creationId xmlns:p14="http://schemas.microsoft.com/office/powerpoint/2010/main" val="3145536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960011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762000"/>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981200"/>
            <a:ext cx="8229600" cy="4144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DAD15A-54AE-46E8-90AA-18C3E8B828DE}" type="datetimeFigureOut">
              <a:rPr lang="en-US" smtClean="0"/>
              <a:t>1/27/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FF47BD-BBD6-4C8D-9998-AA895B1F4B0C}" type="slidenum">
              <a:rPr lang="en-US" smtClean="0"/>
              <a:t>‹#›</a:t>
            </a:fld>
            <a:endParaRPr lang="en-US"/>
          </a:p>
        </p:txBody>
      </p:sp>
    </p:spTree>
    <p:extLst>
      <p:ext uri="{BB962C8B-B14F-4D97-AF65-F5344CB8AC3E}">
        <p14:creationId xmlns:p14="http://schemas.microsoft.com/office/powerpoint/2010/main" val="36391483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g"/><Relationship Id="rId7" Type="http://schemas.openxmlformats.org/officeDocument/2006/relationships/image" Target="../media/image30.jpe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29.jpg"/><Relationship Id="rId5" Type="http://schemas.openxmlformats.org/officeDocument/2006/relationships/image" Target="../media/image28.jpg"/><Relationship Id="rId4" Type="http://schemas.openxmlformats.org/officeDocument/2006/relationships/image" Target="../media/image27.jpg"/></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publicdomainpictures.net/view-image.php?image=18397&amp;picture=silver-road-barriers" TargetMode="External"/><Relationship Id="rId2" Type="http://schemas.openxmlformats.org/officeDocument/2006/relationships/image" Target="../media/image35.jp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jp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21.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mailto:nbreul@nleomf.org"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hyperlink" Target="https://psmag.com/social-justice/black-cops-are-just-as-likely-as-whites-to-kill-black-suspect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76200"/>
            <a:ext cx="9144000" cy="3200400"/>
          </a:xfrm>
        </p:spPr>
        <p:txBody>
          <a:bodyPr>
            <a:normAutofit fontScale="90000"/>
          </a:bodyPr>
          <a:lstStyle/>
          <a:p>
            <a:r>
              <a:rPr lang="en-US" altLang="en-US" dirty="0"/>
              <a:t>Work Plan Presentation</a:t>
            </a:r>
            <a:br>
              <a:rPr lang="en-US" altLang="en-US" dirty="0"/>
            </a:br>
            <a:br>
              <a:rPr lang="en-US" altLang="en-US" dirty="0"/>
            </a:br>
            <a:br>
              <a:rPr lang="en-US" altLang="en-US" dirty="0"/>
            </a:br>
            <a:br>
              <a:rPr lang="en-US" altLang="en-US" dirty="0"/>
            </a:br>
            <a:br>
              <a:rPr lang="en-US" altLang="en-US" dirty="0"/>
            </a:br>
            <a:br>
              <a:rPr lang="en-US" altLang="en-US" dirty="0"/>
            </a:br>
            <a:br>
              <a:rPr lang="en-US" altLang="en-US" dirty="0"/>
            </a:br>
            <a:br>
              <a:rPr lang="en-US" altLang="en-US" dirty="0"/>
            </a:br>
            <a:br>
              <a:rPr lang="en-US" altLang="en-US" dirty="0"/>
            </a:br>
            <a:r>
              <a:rPr lang="en-US" altLang="en-US" dirty="0"/>
              <a:t>Fourth Quarter and End of Year Report for 2023</a:t>
            </a:r>
            <a:br>
              <a:rPr lang="en-US" altLang="en-US" dirty="0"/>
            </a:br>
            <a:br>
              <a:rPr lang="en-US" altLang="en-US" dirty="0"/>
            </a:br>
            <a:br>
              <a:rPr lang="en-US" altLang="en-US" dirty="0"/>
            </a:br>
            <a:br>
              <a:rPr lang="en-US" altLang="en-US" dirty="0"/>
            </a:br>
            <a:br>
              <a:rPr lang="en-US" altLang="en-US" dirty="0"/>
            </a:br>
            <a:br>
              <a:rPr lang="en-US" altLang="en-US" dirty="0"/>
            </a:br>
            <a:br>
              <a:rPr lang="en-US" altLang="en-US" dirty="0"/>
            </a:br>
            <a:br>
              <a:rPr lang="en-US" altLang="en-US" dirty="0"/>
            </a:br>
            <a:br>
              <a:rPr lang="en-US" altLang="en-US" dirty="0"/>
            </a:br>
            <a:endParaRPr lang="en-US" sz="3100" dirty="0"/>
          </a:p>
        </p:txBody>
      </p:sp>
      <p:sp>
        <p:nvSpPr>
          <p:cNvPr id="3" name="Subtitle 2"/>
          <p:cNvSpPr>
            <a:spLocks noGrp="1"/>
          </p:cNvSpPr>
          <p:nvPr>
            <p:ph type="subTitle" idx="1"/>
          </p:nvPr>
        </p:nvSpPr>
        <p:spPr>
          <a:xfrm>
            <a:off x="1371600" y="2895600"/>
            <a:ext cx="6400800" cy="1524000"/>
          </a:xfrm>
        </p:spPr>
        <p:txBody>
          <a:bodyPr>
            <a:noAutofit/>
          </a:bodyPr>
          <a:lstStyle/>
          <a:p>
            <a:endParaRPr lang="en-US" sz="2400" dirty="0">
              <a:solidFill>
                <a:schemeClr val="bg1"/>
              </a:solidFill>
            </a:endParaRPr>
          </a:p>
          <a:p>
            <a:r>
              <a:rPr lang="en-US" dirty="0"/>
              <a:t>Thursday January 25, 2024</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3000" y="5334000"/>
            <a:ext cx="3886202" cy="871913"/>
          </a:xfrm>
          <a:prstGeom prst="rect">
            <a:avLst/>
          </a:prstGeom>
        </p:spPr>
      </p:pic>
      <p:pic>
        <p:nvPicPr>
          <p:cNvPr id="7" name="Picture 6" descr="Logo, company name&#10;&#10;Description automatically generated">
            <a:extLst>
              <a:ext uri="{FF2B5EF4-FFF2-40B4-BE49-F238E27FC236}">
                <a16:creationId xmlns:a16="http://schemas.microsoft.com/office/drawing/2014/main" id="{93913CF3-C116-46EC-BAAA-526384FB5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4724400"/>
            <a:ext cx="3886202" cy="1943101"/>
          </a:xfrm>
          <a:prstGeom prst="rect">
            <a:avLst/>
          </a:prstGeom>
        </p:spPr>
      </p:pic>
    </p:spTree>
    <p:extLst>
      <p:ext uri="{BB962C8B-B14F-4D97-AF65-F5344CB8AC3E}">
        <p14:creationId xmlns:p14="http://schemas.microsoft.com/office/powerpoint/2010/main" val="4171924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92E88-62CC-05A5-07A4-3D6C1F89DD50}"/>
              </a:ext>
            </a:extLst>
          </p:cNvPr>
          <p:cNvSpPr>
            <a:spLocks noGrp="1"/>
          </p:cNvSpPr>
          <p:nvPr>
            <p:ph type="title"/>
          </p:nvPr>
        </p:nvSpPr>
        <p:spPr/>
        <p:txBody>
          <a:bodyPr/>
          <a:lstStyle/>
          <a:p>
            <a:r>
              <a:rPr lang="en-US" dirty="0"/>
              <a:t>Automobile Crashes </a:t>
            </a:r>
          </a:p>
        </p:txBody>
      </p:sp>
      <p:graphicFrame>
        <p:nvGraphicFramePr>
          <p:cNvPr id="6" name="Content Placeholder 5">
            <a:extLst>
              <a:ext uri="{FF2B5EF4-FFF2-40B4-BE49-F238E27FC236}">
                <a16:creationId xmlns:a16="http://schemas.microsoft.com/office/drawing/2014/main" id="{2CB19C8C-31D6-1714-7293-AD6DD2B32AFF}"/>
              </a:ext>
            </a:extLst>
          </p:cNvPr>
          <p:cNvGraphicFramePr>
            <a:graphicFrameLocks noGrp="1"/>
          </p:cNvGraphicFramePr>
          <p:nvPr>
            <p:ph idx="1"/>
            <p:extLst>
              <p:ext uri="{D42A27DB-BD31-4B8C-83A1-F6EECF244321}">
                <p14:modId xmlns:p14="http://schemas.microsoft.com/office/powerpoint/2010/main" val="2535845961"/>
              </p:ext>
            </p:extLst>
          </p:nvPr>
        </p:nvGraphicFramePr>
        <p:xfrm>
          <a:off x="457200" y="1981200"/>
          <a:ext cx="8229600" cy="4144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88135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C0BE4D-4F3C-6C1F-B46A-31455A8538DE}"/>
              </a:ext>
            </a:extLst>
          </p:cNvPr>
          <p:cNvSpPr>
            <a:spLocks noGrp="1"/>
          </p:cNvSpPr>
          <p:nvPr>
            <p:ph type="title"/>
          </p:nvPr>
        </p:nvSpPr>
        <p:spPr>
          <a:xfrm>
            <a:off x="480060" y="325369"/>
            <a:ext cx="3276451" cy="1956841"/>
          </a:xfrm>
        </p:spPr>
        <p:txBody>
          <a:bodyPr vert="horz" lIns="91440" tIns="45720" rIns="91440" bIns="45720" rtlCol="0" anchor="b">
            <a:normAutofit/>
          </a:bodyPr>
          <a:lstStyle/>
          <a:p>
            <a:pPr algn="l">
              <a:lnSpc>
                <a:spcPct val="90000"/>
              </a:lnSpc>
            </a:pPr>
            <a:r>
              <a:rPr lang="en-US" sz="4700" dirty="0"/>
              <a:t>2023 Auto Crash Types</a:t>
            </a:r>
          </a:p>
        </p:txBody>
      </p:sp>
      <p:sp>
        <p:nvSpPr>
          <p:cNvPr id="13"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2586994"/>
            <a:ext cx="2606040" cy="18288"/>
          </a:xfrm>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 name="connsiteX0" fmla="*/ 0 w 2606040"/>
              <a:gd name="connsiteY0" fmla="*/ 0 h 18288"/>
              <a:gd name="connsiteX1" fmla="*/ 599389 w 2606040"/>
              <a:gd name="connsiteY1" fmla="*/ 0 h 18288"/>
              <a:gd name="connsiteX2" fmla="*/ 1303020 w 2606040"/>
              <a:gd name="connsiteY2" fmla="*/ 0 h 18288"/>
              <a:gd name="connsiteX3" fmla="*/ 1876349 w 2606040"/>
              <a:gd name="connsiteY3" fmla="*/ 0 h 18288"/>
              <a:gd name="connsiteX4" fmla="*/ 2606040 w 2606040"/>
              <a:gd name="connsiteY4" fmla="*/ 0 h 18288"/>
              <a:gd name="connsiteX5" fmla="*/ 2606040 w 2606040"/>
              <a:gd name="connsiteY5" fmla="*/ 18288 h 18288"/>
              <a:gd name="connsiteX6" fmla="*/ 1980590 w 2606040"/>
              <a:gd name="connsiteY6" fmla="*/ 18288 h 18288"/>
              <a:gd name="connsiteX7" fmla="*/ 1276960 w 2606040"/>
              <a:gd name="connsiteY7" fmla="*/ 18288 h 18288"/>
              <a:gd name="connsiteX8" fmla="*/ 65151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6645" y="4461"/>
                  <a:pt x="2607031" y="13181"/>
                  <a:pt x="2606040" y="18288"/>
                </a:cubicBezTo>
                <a:cubicBezTo>
                  <a:pt x="2260204" y="29342"/>
                  <a:pt x="2175708" y="5614"/>
                  <a:pt x="1902409" y="18288"/>
                </a:cubicBezTo>
                <a:cubicBezTo>
                  <a:pt x="1638502" y="41064"/>
                  <a:pt x="1460923" y="-16269"/>
                  <a:pt x="1276960" y="18288"/>
                </a:cubicBezTo>
                <a:cubicBezTo>
                  <a:pt x="1057717" y="14361"/>
                  <a:pt x="867956" y="2320"/>
                  <a:pt x="677570" y="18288"/>
                </a:cubicBezTo>
                <a:cubicBezTo>
                  <a:pt x="457951" y="33373"/>
                  <a:pt x="189752" y="55388"/>
                  <a:pt x="0" y="18288"/>
                </a:cubicBezTo>
                <a:cubicBezTo>
                  <a:pt x="1586" y="13022"/>
                  <a:pt x="-95" y="4569"/>
                  <a:pt x="0" y="0"/>
                </a:cubicBezTo>
                <a:close/>
              </a:path>
              <a:path w="2606040" h="18288"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6314" y="8448"/>
                  <a:pt x="2606550" y="14527"/>
                  <a:pt x="2606040" y="18288"/>
                </a:cubicBezTo>
                <a:cubicBezTo>
                  <a:pt x="2344840" y="2643"/>
                  <a:pt x="2192043" y="7399"/>
                  <a:pt x="1980590" y="18288"/>
                </a:cubicBezTo>
                <a:cubicBezTo>
                  <a:pt x="1783984" y="-9745"/>
                  <a:pt x="1487673" y="45908"/>
                  <a:pt x="1276960" y="18288"/>
                </a:cubicBezTo>
                <a:cubicBezTo>
                  <a:pt x="1088134" y="-41257"/>
                  <a:pt x="877974" y="49968"/>
                  <a:pt x="651510" y="18288"/>
                </a:cubicBezTo>
                <a:cubicBezTo>
                  <a:pt x="430798" y="-27764"/>
                  <a:pt x="132889" y="-33467"/>
                  <a:pt x="0" y="18288"/>
                </a:cubicBezTo>
                <a:cubicBezTo>
                  <a:pt x="212" y="10845"/>
                  <a:pt x="-833" y="6193"/>
                  <a:pt x="0" y="0"/>
                </a:cubicBezTo>
                <a:close/>
              </a:path>
              <a:path w="2606040" h="18288"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6166" y="3680"/>
                  <a:pt x="2606905" y="11461"/>
                  <a:pt x="2606040" y="18288"/>
                </a:cubicBezTo>
                <a:cubicBezTo>
                  <a:pt x="2234648" y="26976"/>
                  <a:pt x="2180202" y="-10361"/>
                  <a:pt x="1902409" y="18288"/>
                </a:cubicBezTo>
                <a:cubicBezTo>
                  <a:pt x="1635562" y="47194"/>
                  <a:pt x="1477339" y="4794"/>
                  <a:pt x="1276960" y="18288"/>
                </a:cubicBezTo>
                <a:cubicBezTo>
                  <a:pt x="1058094" y="66922"/>
                  <a:pt x="904206" y="-20636"/>
                  <a:pt x="677570" y="18288"/>
                </a:cubicBezTo>
                <a:cubicBezTo>
                  <a:pt x="485746" y="14713"/>
                  <a:pt x="195925" y="33005"/>
                  <a:pt x="0" y="18288"/>
                </a:cubicBezTo>
                <a:cubicBezTo>
                  <a:pt x="1168" y="12774"/>
                  <a:pt x="-229" y="374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462" y="4771"/>
                          <a:pt x="2606793" y="12323"/>
                          <a:pt x="2606040" y="18288"/>
                        </a:cubicBezTo>
                        <a:cubicBezTo>
                          <a:pt x="2256758" y="31410"/>
                          <a:pt x="2173673" y="-12878"/>
                          <a:pt x="1902409" y="18288"/>
                        </a:cubicBezTo>
                        <a:cubicBezTo>
                          <a:pt x="1631145" y="49454"/>
                          <a:pt x="1461378" y="5466"/>
                          <a:pt x="1276960" y="18288"/>
                        </a:cubicBezTo>
                        <a:cubicBezTo>
                          <a:pt x="1092542" y="31110"/>
                          <a:pt x="890442" y="13213"/>
                          <a:pt x="677570" y="18288"/>
                        </a:cubicBezTo>
                        <a:cubicBezTo>
                          <a:pt x="464698" y="23364"/>
                          <a:pt x="187648" y="35837"/>
                          <a:pt x="0" y="18288"/>
                        </a:cubicBezTo>
                        <a:cubicBezTo>
                          <a:pt x="841" y="12879"/>
                          <a:pt x="-726" y="3977"/>
                          <a:pt x="0" y="0"/>
                        </a:cubicBezTo>
                        <a:close/>
                      </a:path>
                      <a:path w="2606040" h="18288"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5426" y="8857"/>
                          <a:pt x="2606544" y="13619"/>
                          <a:pt x="2606040" y="18288"/>
                        </a:cubicBezTo>
                        <a:cubicBezTo>
                          <a:pt x="2393024" y="2241"/>
                          <a:pt x="2191161" y="39259"/>
                          <a:pt x="1980590" y="18288"/>
                        </a:cubicBezTo>
                        <a:cubicBezTo>
                          <a:pt x="1770019" y="-2683"/>
                          <a:pt x="1476440" y="36114"/>
                          <a:pt x="1276960" y="18288"/>
                        </a:cubicBezTo>
                        <a:cubicBezTo>
                          <a:pt x="1077480" y="463"/>
                          <a:pt x="880988" y="42125"/>
                          <a:pt x="651510" y="18288"/>
                        </a:cubicBezTo>
                        <a:cubicBezTo>
                          <a:pt x="422032" y="-5549"/>
                          <a:pt x="130744" y="-1947"/>
                          <a:pt x="0" y="18288"/>
                        </a:cubicBezTo>
                        <a:cubicBezTo>
                          <a:pt x="-487" y="10816"/>
                          <a:pt x="-839" y="6058"/>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5DA1E36-38C6-BEB3-99AA-5A93D4529484}"/>
              </a:ext>
            </a:extLst>
          </p:cNvPr>
          <p:cNvSpPr>
            <a:spLocks noGrp="1"/>
          </p:cNvSpPr>
          <p:nvPr>
            <p:ph sz="half" idx="1"/>
          </p:nvPr>
        </p:nvSpPr>
        <p:spPr>
          <a:xfrm>
            <a:off x="480060" y="2872899"/>
            <a:ext cx="3182691" cy="3320668"/>
          </a:xfrm>
        </p:spPr>
        <p:txBody>
          <a:bodyPr vert="horz" lIns="91440" tIns="45720" rIns="91440" bIns="45720" rtlCol="0">
            <a:normAutofit/>
          </a:bodyPr>
          <a:lstStyle/>
          <a:p>
            <a:pPr indent="-228600">
              <a:lnSpc>
                <a:spcPct val="90000"/>
              </a:lnSpc>
            </a:pPr>
            <a:r>
              <a:rPr lang="en-US" sz="2400" dirty="0"/>
              <a:t>T-Bone (Intersection)=7</a:t>
            </a:r>
          </a:p>
          <a:p>
            <a:pPr indent="-228600">
              <a:lnSpc>
                <a:spcPct val="90000"/>
              </a:lnSpc>
            </a:pPr>
            <a:r>
              <a:rPr lang="en-US" sz="2400" dirty="0"/>
              <a:t>Head-on=7</a:t>
            </a:r>
          </a:p>
          <a:p>
            <a:pPr indent="-228600">
              <a:lnSpc>
                <a:spcPct val="90000"/>
              </a:lnSpc>
            </a:pPr>
            <a:r>
              <a:rPr lang="en-US" sz="2400" dirty="0"/>
              <a:t>Rear-ended=1</a:t>
            </a:r>
          </a:p>
          <a:p>
            <a:pPr indent="-228600">
              <a:lnSpc>
                <a:spcPct val="90000"/>
              </a:lnSpc>
            </a:pPr>
            <a:r>
              <a:rPr lang="en-US" sz="2400" dirty="0"/>
              <a:t>Impaled by gate=1</a:t>
            </a:r>
          </a:p>
          <a:p>
            <a:pPr indent="-228600">
              <a:lnSpc>
                <a:spcPct val="90000"/>
              </a:lnSpc>
            </a:pPr>
            <a:r>
              <a:rPr lang="en-US" sz="2400" dirty="0"/>
              <a:t>Merge=1</a:t>
            </a:r>
          </a:p>
          <a:p>
            <a:pPr indent="-228600">
              <a:lnSpc>
                <a:spcPct val="90000"/>
              </a:lnSpc>
            </a:pPr>
            <a:r>
              <a:rPr lang="en-US" sz="2400" dirty="0"/>
              <a:t>Lost Control=5</a:t>
            </a:r>
          </a:p>
          <a:p>
            <a:pPr indent="-228600">
              <a:lnSpc>
                <a:spcPct val="90000"/>
              </a:lnSpc>
            </a:pPr>
            <a:endParaRPr lang="en-US" sz="1900" dirty="0"/>
          </a:p>
        </p:txBody>
      </p:sp>
      <p:pic>
        <p:nvPicPr>
          <p:cNvPr id="6" name="Content Placeholder 5" descr="A group of firefighters working on a wrecked car&#10;&#10;Description automatically generated">
            <a:extLst>
              <a:ext uri="{FF2B5EF4-FFF2-40B4-BE49-F238E27FC236}">
                <a16:creationId xmlns:a16="http://schemas.microsoft.com/office/drawing/2014/main" id="{3647E076-CE21-D972-87D3-AE5669C502CE}"/>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11810" r="31770"/>
          <a:stretch/>
        </p:blipFill>
        <p:spPr>
          <a:xfrm>
            <a:off x="3983776" y="10"/>
            <a:ext cx="5159081"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948225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F1376-7256-B9A2-9A07-6CB23847C0F7}"/>
              </a:ext>
            </a:extLst>
          </p:cNvPr>
          <p:cNvSpPr>
            <a:spLocks noGrp="1"/>
          </p:cNvSpPr>
          <p:nvPr>
            <p:ph type="title"/>
          </p:nvPr>
        </p:nvSpPr>
        <p:spPr/>
        <p:txBody>
          <a:bodyPr/>
          <a:lstStyle/>
          <a:p>
            <a:r>
              <a:rPr lang="en-US" dirty="0"/>
              <a:t>2023 Seatbelt Analysis</a:t>
            </a:r>
          </a:p>
        </p:txBody>
      </p:sp>
      <p:graphicFrame>
        <p:nvGraphicFramePr>
          <p:cNvPr id="6" name="Content Placeholder 5">
            <a:extLst>
              <a:ext uri="{FF2B5EF4-FFF2-40B4-BE49-F238E27FC236}">
                <a16:creationId xmlns:a16="http://schemas.microsoft.com/office/drawing/2014/main" id="{7538510C-497F-AF44-FC19-32C9FAD3D8D2}"/>
              </a:ext>
            </a:extLst>
          </p:cNvPr>
          <p:cNvGraphicFramePr>
            <a:graphicFrameLocks noGrp="1"/>
          </p:cNvGraphicFramePr>
          <p:nvPr>
            <p:ph idx="1"/>
            <p:extLst>
              <p:ext uri="{D42A27DB-BD31-4B8C-83A1-F6EECF244321}">
                <p14:modId xmlns:p14="http://schemas.microsoft.com/office/powerpoint/2010/main" val="4191014387"/>
              </p:ext>
            </p:extLst>
          </p:nvPr>
        </p:nvGraphicFramePr>
        <p:xfrm>
          <a:off x="439271" y="2057400"/>
          <a:ext cx="8229600" cy="4144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404319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914399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useBgFill="1">
        <p:nvSpPr>
          <p:cNvPr id="13" name="Rectangle 12">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391835" cy="2285999"/>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2E5D7CA-A856-6FAA-D664-DE30CF4968BA}"/>
              </a:ext>
            </a:extLst>
          </p:cNvPr>
          <p:cNvSpPr>
            <a:spLocks noGrp="1"/>
          </p:cNvSpPr>
          <p:nvPr>
            <p:ph type="title"/>
          </p:nvPr>
        </p:nvSpPr>
        <p:spPr>
          <a:xfrm>
            <a:off x="571352" y="350196"/>
            <a:ext cx="3485178" cy="1624520"/>
          </a:xfrm>
        </p:spPr>
        <p:txBody>
          <a:bodyPr vert="horz" lIns="91440" tIns="45720" rIns="91440" bIns="45720" rtlCol="0" anchor="ctr">
            <a:normAutofit/>
          </a:bodyPr>
          <a:lstStyle/>
          <a:p>
            <a:pPr algn="l">
              <a:lnSpc>
                <a:spcPct val="90000"/>
              </a:lnSpc>
            </a:pPr>
            <a:r>
              <a:rPr lang="en-US" sz="3500" dirty="0"/>
              <a:t>2023 Motorcycle Crashes</a:t>
            </a:r>
          </a:p>
        </p:txBody>
      </p:sp>
      <p:sp>
        <p:nvSpPr>
          <p:cNvPr id="3" name="Content Placeholder 2">
            <a:extLst>
              <a:ext uri="{FF2B5EF4-FFF2-40B4-BE49-F238E27FC236}">
                <a16:creationId xmlns:a16="http://schemas.microsoft.com/office/drawing/2014/main" id="{39B86F38-B428-5C8A-8571-D6F95EE22648}"/>
              </a:ext>
            </a:extLst>
          </p:cNvPr>
          <p:cNvSpPr>
            <a:spLocks noGrp="1"/>
          </p:cNvSpPr>
          <p:nvPr>
            <p:ph sz="half" idx="1"/>
          </p:nvPr>
        </p:nvSpPr>
        <p:spPr>
          <a:xfrm>
            <a:off x="571351" y="2209800"/>
            <a:ext cx="3485179" cy="4146549"/>
          </a:xfrm>
        </p:spPr>
        <p:txBody>
          <a:bodyPr vert="horz" lIns="91440" tIns="45720" rIns="91440" bIns="45720" rtlCol="0" anchor="ctr">
            <a:noAutofit/>
          </a:bodyPr>
          <a:lstStyle/>
          <a:p>
            <a:pPr indent="-228600">
              <a:lnSpc>
                <a:spcPct val="90000"/>
              </a:lnSpc>
            </a:pPr>
            <a:r>
              <a:rPr lang="en-US" sz="2400" dirty="0"/>
              <a:t>2 of the crashes involved officer responding to work or an assignment.</a:t>
            </a:r>
          </a:p>
          <a:p>
            <a:pPr indent="-228600">
              <a:lnSpc>
                <a:spcPct val="90000"/>
              </a:lnSpc>
            </a:pPr>
            <a:r>
              <a:rPr lang="en-US" sz="2400" dirty="0"/>
              <a:t>1 officer hit a pole (ATV).</a:t>
            </a:r>
          </a:p>
          <a:p>
            <a:pPr indent="-228600">
              <a:lnSpc>
                <a:spcPct val="90000"/>
              </a:lnSpc>
            </a:pPr>
            <a:r>
              <a:rPr lang="en-US" sz="2400" dirty="0"/>
              <a:t>1 officer was struck by a falling object.</a:t>
            </a:r>
          </a:p>
          <a:p>
            <a:pPr indent="-228600">
              <a:lnSpc>
                <a:spcPct val="90000"/>
              </a:lnSpc>
            </a:pPr>
            <a:r>
              <a:rPr lang="en-US" sz="2400" dirty="0"/>
              <a:t>1 officer crashed expediting to assist another officer.</a:t>
            </a:r>
          </a:p>
        </p:txBody>
      </p:sp>
      <p:pic>
        <p:nvPicPr>
          <p:cNvPr id="6" name="Content Placeholder 5" descr="A group of police officers marching on motorcycles&#10;&#10;Description automatically generated">
            <a:extLst>
              <a:ext uri="{FF2B5EF4-FFF2-40B4-BE49-F238E27FC236}">
                <a16:creationId xmlns:a16="http://schemas.microsoft.com/office/drawing/2014/main" id="{9716E7CF-5964-814B-1D98-ED9D03193BA0}"/>
              </a:ext>
            </a:extLst>
          </p:cNvPr>
          <p:cNvPicPr>
            <a:picLocks noGrp="1" noChangeAspect="1"/>
          </p:cNvPicPr>
          <p:nvPr>
            <p:ph sz="half" idx="2"/>
          </p:nvPr>
        </p:nvPicPr>
        <p:blipFill rotWithShape="1">
          <a:blip r:embed="rId3" cstate="print">
            <a:extLst>
              <a:ext uri="{28A0092B-C50C-407E-A947-70E740481C1C}">
                <a14:useLocalDpi xmlns:a14="http://schemas.microsoft.com/office/drawing/2010/main" val="0"/>
              </a:ext>
            </a:extLst>
          </a:blip>
          <a:srcRect t="11012"/>
          <a:stretch/>
        </p:blipFill>
        <p:spPr>
          <a:xfrm rot="5400000">
            <a:off x="3431559" y="1140442"/>
            <a:ext cx="6858000" cy="4577118"/>
          </a:xfrm>
          <a:prstGeom prst="rect">
            <a:avLst/>
          </a:prstGeom>
        </p:spPr>
      </p:pic>
    </p:spTree>
    <p:extLst>
      <p:ext uri="{BB962C8B-B14F-4D97-AF65-F5344CB8AC3E}">
        <p14:creationId xmlns:p14="http://schemas.microsoft.com/office/powerpoint/2010/main" val="394593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34085FA-8968-8ECD-3A2E-AFBADC5DCDC9}"/>
              </a:ext>
            </a:extLst>
          </p:cNvPr>
          <p:cNvSpPr>
            <a:spLocks noGrp="1"/>
          </p:cNvSpPr>
          <p:nvPr>
            <p:ph type="title"/>
          </p:nvPr>
        </p:nvSpPr>
        <p:spPr>
          <a:xfrm>
            <a:off x="480060" y="325369"/>
            <a:ext cx="3276451" cy="1956841"/>
          </a:xfrm>
        </p:spPr>
        <p:txBody>
          <a:bodyPr vert="horz" lIns="91440" tIns="45720" rIns="91440" bIns="45720" rtlCol="0" anchor="b">
            <a:normAutofit/>
          </a:bodyPr>
          <a:lstStyle/>
          <a:p>
            <a:pPr algn="l">
              <a:lnSpc>
                <a:spcPct val="90000"/>
              </a:lnSpc>
            </a:pPr>
            <a:r>
              <a:rPr lang="en-US" sz="4700" dirty="0"/>
              <a:t>2023 Struck-by Crashes</a:t>
            </a:r>
          </a:p>
        </p:txBody>
      </p:sp>
      <p:sp>
        <p:nvSpPr>
          <p:cNvPr id="3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2586994"/>
            <a:ext cx="2606040" cy="18288"/>
          </a:xfrm>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 name="connsiteX0" fmla="*/ 0 w 2606040"/>
              <a:gd name="connsiteY0" fmla="*/ 0 h 18288"/>
              <a:gd name="connsiteX1" fmla="*/ 599389 w 2606040"/>
              <a:gd name="connsiteY1" fmla="*/ 0 h 18288"/>
              <a:gd name="connsiteX2" fmla="*/ 1303020 w 2606040"/>
              <a:gd name="connsiteY2" fmla="*/ 0 h 18288"/>
              <a:gd name="connsiteX3" fmla="*/ 1876349 w 2606040"/>
              <a:gd name="connsiteY3" fmla="*/ 0 h 18288"/>
              <a:gd name="connsiteX4" fmla="*/ 2606040 w 2606040"/>
              <a:gd name="connsiteY4" fmla="*/ 0 h 18288"/>
              <a:gd name="connsiteX5" fmla="*/ 2606040 w 2606040"/>
              <a:gd name="connsiteY5" fmla="*/ 18288 h 18288"/>
              <a:gd name="connsiteX6" fmla="*/ 1980590 w 2606040"/>
              <a:gd name="connsiteY6" fmla="*/ 18288 h 18288"/>
              <a:gd name="connsiteX7" fmla="*/ 1276960 w 2606040"/>
              <a:gd name="connsiteY7" fmla="*/ 18288 h 18288"/>
              <a:gd name="connsiteX8" fmla="*/ 65151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6645" y="4461"/>
                  <a:pt x="2607031" y="13181"/>
                  <a:pt x="2606040" y="18288"/>
                </a:cubicBezTo>
                <a:cubicBezTo>
                  <a:pt x="2260204" y="29342"/>
                  <a:pt x="2175708" y="5614"/>
                  <a:pt x="1902409" y="18288"/>
                </a:cubicBezTo>
                <a:cubicBezTo>
                  <a:pt x="1638502" y="41064"/>
                  <a:pt x="1460923" y="-16269"/>
                  <a:pt x="1276960" y="18288"/>
                </a:cubicBezTo>
                <a:cubicBezTo>
                  <a:pt x="1057717" y="14361"/>
                  <a:pt x="867956" y="2320"/>
                  <a:pt x="677570" y="18288"/>
                </a:cubicBezTo>
                <a:cubicBezTo>
                  <a:pt x="457951" y="33373"/>
                  <a:pt x="189752" y="55388"/>
                  <a:pt x="0" y="18288"/>
                </a:cubicBezTo>
                <a:cubicBezTo>
                  <a:pt x="1586" y="13022"/>
                  <a:pt x="-95" y="4569"/>
                  <a:pt x="0" y="0"/>
                </a:cubicBezTo>
                <a:close/>
              </a:path>
              <a:path w="2606040" h="18288"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6314" y="8448"/>
                  <a:pt x="2606550" y="14527"/>
                  <a:pt x="2606040" y="18288"/>
                </a:cubicBezTo>
                <a:cubicBezTo>
                  <a:pt x="2344840" y="2643"/>
                  <a:pt x="2192043" y="7399"/>
                  <a:pt x="1980590" y="18288"/>
                </a:cubicBezTo>
                <a:cubicBezTo>
                  <a:pt x="1783984" y="-9745"/>
                  <a:pt x="1487673" y="45908"/>
                  <a:pt x="1276960" y="18288"/>
                </a:cubicBezTo>
                <a:cubicBezTo>
                  <a:pt x="1088134" y="-41257"/>
                  <a:pt x="877974" y="49968"/>
                  <a:pt x="651510" y="18288"/>
                </a:cubicBezTo>
                <a:cubicBezTo>
                  <a:pt x="430798" y="-27764"/>
                  <a:pt x="132889" y="-33467"/>
                  <a:pt x="0" y="18288"/>
                </a:cubicBezTo>
                <a:cubicBezTo>
                  <a:pt x="212" y="10845"/>
                  <a:pt x="-833" y="6193"/>
                  <a:pt x="0" y="0"/>
                </a:cubicBezTo>
                <a:close/>
              </a:path>
              <a:path w="2606040" h="18288"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6166" y="3680"/>
                  <a:pt x="2606905" y="11461"/>
                  <a:pt x="2606040" y="18288"/>
                </a:cubicBezTo>
                <a:cubicBezTo>
                  <a:pt x="2234648" y="26976"/>
                  <a:pt x="2180202" y="-10361"/>
                  <a:pt x="1902409" y="18288"/>
                </a:cubicBezTo>
                <a:cubicBezTo>
                  <a:pt x="1635562" y="47194"/>
                  <a:pt x="1477339" y="4794"/>
                  <a:pt x="1276960" y="18288"/>
                </a:cubicBezTo>
                <a:cubicBezTo>
                  <a:pt x="1058094" y="66922"/>
                  <a:pt x="904206" y="-20636"/>
                  <a:pt x="677570" y="18288"/>
                </a:cubicBezTo>
                <a:cubicBezTo>
                  <a:pt x="485746" y="14713"/>
                  <a:pt x="195925" y="33005"/>
                  <a:pt x="0" y="18288"/>
                </a:cubicBezTo>
                <a:cubicBezTo>
                  <a:pt x="1168" y="12774"/>
                  <a:pt x="-229" y="374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462" y="4771"/>
                          <a:pt x="2606793" y="12323"/>
                          <a:pt x="2606040" y="18288"/>
                        </a:cubicBezTo>
                        <a:cubicBezTo>
                          <a:pt x="2256758" y="31410"/>
                          <a:pt x="2173673" y="-12878"/>
                          <a:pt x="1902409" y="18288"/>
                        </a:cubicBezTo>
                        <a:cubicBezTo>
                          <a:pt x="1631145" y="49454"/>
                          <a:pt x="1461378" y="5466"/>
                          <a:pt x="1276960" y="18288"/>
                        </a:cubicBezTo>
                        <a:cubicBezTo>
                          <a:pt x="1092542" y="31110"/>
                          <a:pt x="890442" y="13213"/>
                          <a:pt x="677570" y="18288"/>
                        </a:cubicBezTo>
                        <a:cubicBezTo>
                          <a:pt x="464698" y="23364"/>
                          <a:pt x="187648" y="35837"/>
                          <a:pt x="0" y="18288"/>
                        </a:cubicBezTo>
                        <a:cubicBezTo>
                          <a:pt x="841" y="12879"/>
                          <a:pt x="-726" y="3977"/>
                          <a:pt x="0" y="0"/>
                        </a:cubicBezTo>
                        <a:close/>
                      </a:path>
                      <a:path w="2606040" h="18288"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5426" y="8857"/>
                          <a:pt x="2606544" y="13619"/>
                          <a:pt x="2606040" y="18288"/>
                        </a:cubicBezTo>
                        <a:cubicBezTo>
                          <a:pt x="2393024" y="2241"/>
                          <a:pt x="2191161" y="39259"/>
                          <a:pt x="1980590" y="18288"/>
                        </a:cubicBezTo>
                        <a:cubicBezTo>
                          <a:pt x="1770019" y="-2683"/>
                          <a:pt x="1476440" y="36114"/>
                          <a:pt x="1276960" y="18288"/>
                        </a:cubicBezTo>
                        <a:cubicBezTo>
                          <a:pt x="1077480" y="463"/>
                          <a:pt x="880988" y="42125"/>
                          <a:pt x="651510" y="18288"/>
                        </a:cubicBezTo>
                        <a:cubicBezTo>
                          <a:pt x="422032" y="-5549"/>
                          <a:pt x="130744" y="-1947"/>
                          <a:pt x="0" y="18288"/>
                        </a:cubicBezTo>
                        <a:cubicBezTo>
                          <a:pt x="-487" y="10816"/>
                          <a:pt x="-839" y="6058"/>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3">
            <a:extLst>
              <a:ext uri="{FF2B5EF4-FFF2-40B4-BE49-F238E27FC236}">
                <a16:creationId xmlns:a16="http://schemas.microsoft.com/office/drawing/2014/main" id="{D185AB15-44CA-C4AD-F074-1D45D087FE1C}"/>
              </a:ext>
            </a:extLst>
          </p:cNvPr>
          <p:cNvSpPr>
            <a:spLocks noGrp="1"/>
          </p:cNvSpPr>
          <p:nvPr>
            <p:ph sz="half" idx="2"/>
          </p:nvPr>
        </p:nvSpPr>
        <p:spPr>
          <a:xfrm>
            <a:off x="480060" y="2872899"/>
            <a:ext cx="3182691" cy="3320668"/>
          </a:xfrm>
        </p:spPr>
        <p:txBody>
          <a:bodyPr vert="horz" lIns="91440" tIns="45720" rIns="91440" bIns="45720" rtlCol="0">
            <a:normAutofit/>
          </a:bodyPr>
          <a:lstStyle/>
          <a:p>
            <a:pPr indent="-228600">
              <a:lnSpc>
                <a:spcPct val="90000"/>
              </a:lnSpc>
            </a:pPr>
            <a:r>
              <a:rPr lang="en-US" sz="2400" dirty="0"/>
              <a:t>Tire Deflation Devices=4</a:t>
            </a:r>
          </a:p>
          <a:p>
            <a:pPr indent="-228600">
              <a:lnSpc>
                <a:spcPct val="90000"/>
              </a:lnSpc>
            </a:pPr>
            <a:r>
              <a:rPr lang="en-US" sz="2400" dirty="0"/>
              <a:t>Construction Site=1</a:t>
            </a:r>
          </a:p>
          <a:p>
            <a:pPr indent="-228600">
              <a:lnSpc>
                <a:spcPct val="90000"/>
              </a:lnSpc>
            </a:pPr>
            <a:r>
              <a:rPr lang="en-US" sz="2400" dirty="0"/>
              <a:t>Assisting motorist=2</a:t>
            </a:r>
          </a:p>
          <a:p>
            <a:pPr indent="-228600">
              <a:lnSpc>
                <a:spcPct val="90000"/>
              </a:lnSpc>
            </a:pPr>
            <a:r>
              <a:rPr lang="en-US" sz="2400" dirty="0"/>
              <a:t>Retrieving animal=1</a:t>
            </a:r>
          </a:p>
          <a:p>
            <a:pPr indent="-228600">
              <a:lnSpc>
                <a:spcPct val="90000"/>
              </a:lnSpc>
            </a:pPr>
            <a:r>
              <a:rPr lang="en-US" sz="2400" dirty="0"/>
              <a:t>Intentionally hit</a:t>
            </a:r>
            <a:r>
              <a:rPr lang="en-US" sz="2400"/>
              <a:t>=2</a:t>
            </a:r>
            <a:endParaRPr lang="en-US" sz="2400" dirty="0"/>
          </a:p>
        </p:txBody>
      </p:sp>
      <p:pic>
        <p:nvPicPr>
          <p:cNvPr id="28" name="Content Placeholder 27" descr="A person looking through the window of a car&#10;&#10;Description automatically generated">
            <a:extLst>
              <a:ext uri="{FF2B5EF4-FFF2-40B4-BE49-F238E27FC236}">
                <a16:creationId xmlns:a16="http://schemas.microsoft.com/office/drawing/2014/main" id="{9518CB6A-DD14-B515-3BA2-F73C057801C5}"/>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32913" r="24771"/>
          <a:stretch/>
        </p:blipFill>
        <p:spPr>
          <a:xfrm>
            <a:off x="3983776" y="10"/>
            <a:ext cx="5159081"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792459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6E37-3CDF-2B1D-6237-7D70D711D7C9}"/>
              </a:ext>
            </a:extLst>
          </p:cNvPr>
          <p:cNvSpPr>
            <a:spLocks noGrp="1"/>
          </p:cNvSpPr>
          <p:nvPr>
            <p:ph type="title"/>
          </p:nvPr>
        </p:nvSpPr>
        <p:spPr/>
        <p:txBody>
          <a:bodyPr/>
          <a:lstStyle/>
          <a:p>
            <a:r>
              <a:rPr lang="en-US" dirty="0"/>
              <a:t>Five year look at Struck-by Crashes</a:t>
            </a:r>
          </a:p>
        </p:txBody>
      </p:sp>
      <p:graphicFrame>
        <p:nvGraphicFramePr>
          <p:cNvPr id="6" name="Content Placeholder 5">
            <a:extLst>
              <a:ext uri="{FF2B5EF4-FFF2-40B4-BE49-F238E27FC236}">
                <a16:creationId xmlns:a16="http://schemas.microsoft.com/office/drawing/2014/main" id="{06E59085-630E-DFC8-BAEB-B01C01643D5D}"/>
              </a:ext>
            </a:extLst>
          </p:cNvPr>
          <p:cNvGraphicFramePr>
            <a:graphicFrameLocks noGrp="1"/>
          </p:cNvGraphicFramePr>
          <p:nvPr>
            <p:ph idx="1"/>
            <p:extLst>
              <p:ext uri="{D42A27DB-BD31-4B8C-83A1-F6EECF244321}">
                <p14:modId xmlns:p14="http://schemas.microsoft.com/office/powerpoint/2010/main" val="4017160754"/>
              </p:ext>
            </p:extLst>
          </p:nvPr>
        </p:nvGraphicFramePr>
        <p:xfrm>
          <a:off x="457200" y="1981200"/>
          <a:ext cx="8229600" cy="4144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74100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D68EB8-BD4F-B12D-00C3-780FEE6FC979}"/>
              </a:ext>
            </a:extLst>
          </p:cNvPr>
          <p:cNvSpPr>
            <a:spLocks noGrp="1"/>
          </p:cNvSpPr>
          <p:nvPr>
            <p:ph type="title"/>
          </p:nvPr>
        </p:nvSpPr>
        <p:spPr>
          <a:xfrm>
            <a:off x="480060" y="325369"/>
            <a:ext cx="3276451" cy="1956841"/>
          </a:xfrm>
        </p:spPr>
        <p:txBody>
          <a:bodyPr vert="horz" lIns="91440" tIns="45720" rIns="91440" bIns="45720" rtlCol="0" anchor="b">
            <a:normAutofit/>
          </a:bodyPr>
          <a:lstStyle/>
          <a:p>
            <a:pPr algn="l">
              <a:lnSpc>
                <a:spcPct val="90000"/>
              </a:lnSpc>
            </a:pPr>
            <a:r>
              <a:rPr lang="en-US" sz="3300" b="1" dirty="0"/>
              <a:t> First Responder, Towing and Recovery Struck-by Data for 2023</a:t>
            </a:r>
          </a:p>
        </p:txBody>
      </p:sp>
      <p:sp>
        <p:nvSpPr>
          <p:cNvPr id="21"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2586994"/>
            <a:ext cx="2606040" cy="18288"/>
          </a:xfrm>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 name="connsiteX0" fmla="*/ 0 w 2606040"/>
              <a:gd name="connsiteY0" fmla="*/ 0 h 18288"/>
              <a:gd name="connsiteX1" fmla="*/ 599389 w 2606040"/>
              <a:gd name="connsiteY1" fmla="*/ 0 h 18288"/>
              <a:gd name="connsiteX2" fmla="*/ 1303020 w 2606040"/>
              <a:gd name="connsiteY2" fmla="*/ 0 h 18288"/>
              <a:gd name="connsiteX3" fmla="*/ 1876349 w 2606040"/>
              <a:gd name="connsiteY3" fmla="*/ 0 h 18288"/>
              <a:gd name="connsiteX4" fmla="*/ 2606040 w 2606040"/>
              <a:gd name="connsiteY4" fmla="*/ 0 h 18288"/>
              <a:gd name="connsiteX5" fmla="*/ 2606040 w 2606040"/>
              <a:gd name="connsiteY5" fmla="*/ 18288 h 18288"/>
              <a:gd name="connsiteX6" fmla="*/ 1980590 w 2606040"/>
              <a:gd name="connsiteY6" fmla="*/ 18288 h 18288"/>
              <a:gd name="connsiteX7" fmla="*/ 1276960 w 2606040"/>
              <a:gd name="connsiteY7" fmla="*/ 18288 h 18288"/>
              <a:gd name="connsiteX8" fmla="*/ 65151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6645" y="4461"/>
                  <a:pt x="2607031" y="13181"/>
                  <a:pt x="2606040" y="18288"/>
                </a:cubicBezTo>
                <a:cubicBezTo>
                  <a:pt x="2260204" y="29342"/>
                  <a:pt x="2175708" y="5614"/>
                  <a:pt x="1902409" y="18288"/>
                </a:cubicBezTo>
                <a:cubicBezTo>
                  <a:pt x="1638502" y="41064"/>
                  <a:pt x="1460923" y="-16269"/>
                  <a:pt x="1276960" y="18288"/>
                </a:cubicBezTo>
                <a:cubicBezTo>
                  <a:pt x="1057717" y="14361"/>
                  <a:pt x="867956" y="2320"/>
                  <a:pt x="677570" y="18288"/>
                </a:cubicBezTo>
                <a:cubicBezTo>
                  <a:pt x="457951" y="33373"/>
                  <a:pt x="189752" y="55388"/>
                  <a:pt x="0" y="18288"/>
                </a:cubicBezTo>
                <a:cubicBezTo>
                  <a:pt x="1586" y="13022"/>
                  <a:pt x="-95" y="4569"/>
                  <a:pt x="0" y="0"/>
                </a:cubicBezTo>
                <a:close/>
              </a:path>
              <a:path w="2606040" h="18288"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6314" y="8448"/>
                  <a:pt x="2606550" y="14527"/>
                  <a:pt x="2606040" y="18288"/>
                </a:cubicBezTo>
                <a:cubicBezTo>
                  <a:pt x="2344840" y="2643"/>
                  <a:pt x="2192043" y="7399"/>
                  <a:pt x="1980590" y="18288"/>
                </a:cubicBezTo>
                <a:cubicBezTo>
                  <a:pt x="1783984" y="-9745"/>
                  <a:pt x="1487673" y="45908"/>
                  <a:pt x="1276960" y="18288"/>
                </a:cubicBezTo>
                <a:cubicBezTo>
                  <a:pt x="1088134" y="-41257"/>
                  <a:pt x="877974" y="49968"/>
                  <a:pt x="651510" y="18288"/>
                </a:cubicBezTo>
                <a:cubicBezTo>
                  <a:pt x="430798" y="-27764"/>
                  <a:pt x="132889" y="-33467"/>
                  <a:pt x="0" y="18288"/>
                </a:cubicBezTo>
                <a:cubicBezTo>
                  <a:pt x="212" y="10845"/>
                  <a:pt x="-833" y="6193"/>
                  <a:pt x="0" y="0"/>
                </a:cubicBezTo>
                <a:close/>
              </a:path>
              <a:path w="2606040" h="18288"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6166" y="3680"/>
                  <a:pt x="2606905" y="11461"/>
                  <a:pt x="2606040" y="18288"/>
                </a:cubicBezTo>
                <a:cubicBezTo>
                  <a:pt x="2234648" y="26976"/>
                  <a:pt x="2180202" y="-10361"/>
                  <a:pt x="1902409" y="18288"/>
                </a:cubicBezTo>
                <a:cubicBezTo>
                  <a:pt x="1635562" y="47194"/>
                  <a:pt x="1477339" y="4794"/>
                  <a:pt x="1276960" y="18288"/>
                </a:cubicBezTo>
                <a:cubicBezTo>
                  <a:pt x="1058094" y="66922"/>
                  <a:pt x="904206" y="-20636"/>
                  <a:pt x="677570" y="18288"/>
                </a:cubicBezTo>
                <a:cubicBezTo>
                  <a:pt x="485746" y="14713"/>
                  <a:pt x="195925" y="33005"/>
                  <a:pt x="0" y="18288"/>
                </a:cubicBezTo>
                <a:cubicBezTo>
                  <a:pt x="1168" y="12774"/>
                  <a:pt x="-229" y="374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462" y="4771"/>
                          <a:pt x="2606793" y="12323"/>
                          <a:pt x="2606040" y="18288"/>
                        </a:cubicBezTo>
                        <a:cubicBezTo>
                          <a:pt x="2256758" y="31410"/>
                          <a:pt x="2173673" y="-12878"/>
                          <a:pt x="1902409" y="18288"/>
                        </a:cubicBezTo>
                        <a:cubicBezTo>
                          <a:pt x="1631145" y="49454"/>
                          <a:pt x="1461378" y="5466"/>
                          <a:pt x="1276960" y="18288"/>
                        </a:cubicBezTo>
                        <a:cubicBezTo>
                          <a:pt x="1092542" y="31110"/>
                          <a:pt x="890442" y="13213"/>
                          <a:pt x="677570" y="18288"/>
                        </a:cubicBezTo>
                        <a:cubicBezTo>
                          <a:pt x="464698" y="23364"/>
                          <a:pt x="187648" y="35837"/>
                          <a:pt x="0" y="18288"/>
                        </a:cubicBezTo>
                        <a:cubicBezTo>
                          <a:pt x="841" y="12879"/>
                          <a:pt x="-726" y="3977"/>
                          <a:pt x="0" y="0"/>
                        </a:cubicBezTo>
                        <a:close/>
                      </a:path>
                      <a:path w="2606040" h="18288"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5426" y="8857"/>
                          <a:pt x="2606544" y="13619"/>
                          <a:pt x="2606040" y="18288"/>
                        </a:cubicBezTo>
                        <a:cubicBezTo>
                          <a:pt x="2393024" y="2241"/>
                          <a:pt x="2191161" y="39259"/>
                          <a:pt x="1980590" y="18288"/>
                        </a:cubicBezTo>
                        <a:cubicBezTo>
                          <a:pt x="1770019" y="-2683"/>
                          <a:pt x="1476440" y="36114"/>
                          <a:pt x="1276960" y="18288"/>
                        </a:cubicBezTo>
                        <a:cubicBezTo>
                          <a:pt x="1077480" y="463"/>
                          <a:pt x="880988" y="42125"/>
                          <a:pt x="651510" y="18288"/>
                        </a:cubicBezTo>
                        <a:cubicBezTo>
                          <a:pt x="422032" y="-5549"/>
                          <a:pt x="130744" y="-1947"/>
                          <a:pt x="0" y="18288"/>
                        </a:cubicBezTo>
                        <a:cubicBezTo>
                          <a:pt x="-487" y="10816"/>
                          <a:pt x="-839" y="6058"/>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25EB30DE-0775-8F0D-D760-E922362F8F3F}"/>
              </a:ext>
            </a:extLst>
          </p:cNvPr>
          <p:cNvSpPr>
            <a:spLocks noGrp="1"/>
          </p:cNvSpPr>
          <p:nvPr>
            <p:ph idx="1"/>
          </p:nvPr>
        </p:nvSpPr>
        <p:spPr>
          <a:xfrm>
            <a:off x="480060" y="2872899"/>
            <a:ext cx="3182691" cy="3320668"/>
          </a:xfrm>
        </p:spPr>
        <p:txBody>
          <a:bodyPr vert="horz" lIns="91440" tIns="45720" rIns="91440" bIns="45720" rtlCol="0">
            <a:normAutofit/>
          </a:bodyPr>
          <a:lstStyle/>
          <a:p>
            <a:pPr indent="-228600">
              <a:lnSpc>
                <a:spcPct val="90000"/>
              </a:lnSpc>
            </a:pPr>
            <a:r>
              <a:rPr lang="en-US" sz="2400" b="1" dirty="0"/>
              <a:t>45</a:t>
            </a:r>
            <a:r>
              <a:rPr lang="en-US" sz="2400" dirty="0"/>
              <a:t> cases nationally</a:t>
            </a:r>
          </a:p>
          <a:p>
            <a:pPr lvl="1" indent="-228600">
              <a:lnSpc>
                <a:spcPct val="90000"/>
              </a:lnSpc>
            </a:pPr>
            <a:r>
              <a:rPr lang="en-US" sz="2000" dirty="0"/>
              <a:t>20 Towing/recovery</a:t>
            </a:r>
          </a:p>
          <a:p>
            <a:pPr lvl="1" indent="-228600">
              <a:lnSpc>
                <a:spcPct val="90000"/>
              </a:lnSpc>
            </a:pPr>
            <a:r>
              <a:rPr lang="en-US" sz="2000" dirty="0"/>
              <a:t>14 Law Enforcement*</a:t>
            </a:r>
          </a:p>
          <a:p>
            <a:pPr lvl="1" indent="-228600">
              <a:lnSpc>
                <a:spcPct val="90000"/>
              </a:lnSpc>
            </a:pPr>
            <a:r>
              <a:rPr lang="en-US" sz="2000" dirty="0"/>
              <a:t>8 Fire and EMS</a:t>
            </a:r>
          </a:p>
          <a:p>
            <a:pPr lvl="1" indent="-228600">
              <a:lnSpc>
                <a:spcPct val="90000"/>
              </a:lnSpc>
            </a:pPr>
            <a:r>
              <a:rPr lang="en-US" sz="2000" dirty="0"/>
              <a:t>3 DOT</a:t>
            </a:r>
            <a:endParaRPr lang="en-US" sz="1900" dirty="0"/>
          </a:p>
          <a:p>
            <a:pPr marL="114300" indent="-228600">
              <a:lnSpc>
                <a:spcPct val="90000"/>
              </a:lnSpc>
            </a:pPr>
            <a:r>
              <a:rPr lang="en-US" sz="1900" b="1" dirty="0"/>
              <a:t>Source: Respondersafety.com</a:t>
            </a:r>
          </a:p>
        </p:txBody>
      </p:sp>
      <p:pic>
        <p:nvPicPr>
          <p:cNvPr id="4" name="Picture 3" descr="A tow truck with a broken down car&#10;&#10;Description automatically generated">
            <a:extLst>
              <a:ext uri="{FF2B5EF4-FFF2-40B4-BE49-F238E27FC236}">
                <a16:creationId xmlns:a16="http://schemas.microsoft.com/office/drawing/2014/main" id="{811AFE6C-7801-FBD0-C635-FBC4A1CD64F3}"/>
              </a:ext>
            </a:extLst>
          </p:cNvPr>
          <p:cNvPicPr>
            <a:picLocks noChangeAspect="1"/>
          </p:cNvPicPr>
          <p:nvPr/>
        </p:nvPicPr>
        <p:blipFill rotWithShape="1">
          <a:blip r:embed="rId3">
            <a:extLst>
              <a:ext uri="{28A0092B-C50C-407E-A947-70E740481C1C}">
                <a14:useLocalDpi xmlns:a14="http://schemas.microsoft.com/office/drawing/2010/main" val="0"/>
              </a:ext>
            </a:extLst>
          </a:blip>
          <a:srcRect l="25538" r="24247" b="-1"/>
          <a:stretch/>
        </p:blipFill>
        <p:spPr>
          <a:xfrm>
            <a:off x="3983776" y="10"/>
            <a:ext cx="5159081"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3375049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B1595A09-E336-4D1B-9B3A-06A2287A54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BD93D84-353E-08CD-1099-C4BE0F618B22}"/>
              </a:ext>
            </a:extLst>
          </p:cNvPr>
          <p:cNvSpPr>
            <a:spLocks noGrp="1"/>
          </p:cNvSpPr>
          <p:nvPr>
            <p:ph type="title"/>
          </p:nvPr>
        </p:nvSpPr>
        <p:spPr>
          <a:xfrm>
            <a:off x="480060" y="4777739"/>
            <a:ext cx="2564242" cy="1412119"/>
          </a:xfrm>
        </p:spPr>
        <p:txBody>
          <a:bodyPr vert="horz" lIns="91440" tIns="45720" rIns="91440" bIns="45720" rtlCol="0" anchor="ctr">
            <a:normAutofit/>
          </a:bodyPr>
          <a:lstStyle/>
          <a:p>
            <a:pPr algn="l">
              <a:lnSpc>
                <a:spcPct val="90000"/>
              </a:lnSpc>
            </a:pPr>
            <a:r>
              <a:rPr lang="en-US" sz="4200" dirty="0"/>
              <a:t>D-Drivers and SDMO</a:t>
            </a:r>
          </a:p>
        </p:txBody>
      </p:sp>
      <p:pic>
        <p:nvPicPr>
          <p:cNvPr id="6" name="Content Placeholder 5" descr="A police officer standing on a road with a police officer on the roof&#10;&#10;Description automatically generated">
            <a:extLst>
              <a:ext uri="{FF2B5EF4-FFF2-40B4-BE49-F238E27FC236}">
                <a16:creationId xmlns:a16="http://schemas.microsoft.com/office/drawing/2014/main" id="{D2D7AC62-0EBE-85CB-25F6-39788DB81890}"/>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r="704" b="-1"/>
          <a:stretch/>
        </p:blipFill>
        <p:spPr>
          <a:xfrm>
            <a:off x="20" y="10"/>
            <a:ext cx="9143980" cy="4558420"/>
          </a:xfrm>
          <a:custGeom>
            <a:avLst/>
            <a:gdLst/>
            <a:ahLst/>
            <a:cxnLst/>
            <a:rect l="l" t="t" r="r" b="b"/>
            <a:pathLst>
              <a:path w="12188952" h="4558430">
                <a:moveTo>
                  <a:pt x="6789701" y="4490221"/>
                </a:moveTo>
                <a:lnTo>
                  <a:pt x="6788702" y="4490299"/>
                </a:lnTo>
                <a:lnTo>
                  <a:pt x="6788476" y="4490833"/>
                </a:lnTo>
                <a:close/>
                <a:moveTo>
                  <a:pt x="0" y="0"/>
                </a:moveTo>
                <a:lnTo>
                  <a:pt x="12188952" y="0"/>
                </a:lnTo>
                <a:lnTo>
                  <a:pt x="12188952" y="3596895"/>
                </a:lnTo>
                <a:lnTo>
                  <a:pt x="12061096" y="3635026"/>
                </a:lnTo>
                <a:cubicBezTo>
                  <a:pt x="11933500" y="3671240"/>
                  <a:pt x="11805390" y="3705769"/>
                  <a:pt x="11676800" y="3738601"/>
                </a:cubicBezTo>
                <a:cubicBezTo>
                  <a:pt x="11262789" y="3846108"/>
                  <a:pt x="10845343" y="3939710"/>
                  <a:pt x="10425355" y="4022140"/>
                </a:cubicBezTo>
                <a:cubicBezTo>
                  <a:pt x="10092810" y="4087351"/>
                  <a:pt x="9759033" y="4145748"/>
                  <a:pt x="9424022" y="4197302"/>
                </a:cubicBezTo>
                <a:cubicBezTo>
                  <a:pt x="9102997" y="4246959"/>
                  <a:pt x="8781133" y="4291526"/>
                  <a:pt x="8458419" y="4331003"/>
                </a:cubicBezTo>
                <a:cubicBezTo>
                  <a:pt x="8211360" y="4361169"/>
                  <a:pt x="7963792" y="4386742"/>
                  <a:pt x="7715970" y="4410950"/>
                </a:cubicBezTo>
                <a:lnTo>
                  <a:pt x="6951716" y="4476730"/>
                </a:lnTo>
                <a:lnTo>
                  <a:pt x="6936303" y="4478801"/>
                </a:lnTo>
                <a:lnTo>
                  <a:pt x="6790448" y="4490162"/>
                </a:lnTo>
                <a:lnTo>
                  <a:pt x="6799941" y="4491982"/>
                </a:lnTo>
                <a:cubicBezTo>
                  <a:pt x="6811623" y="4492448"/>
                  <a:pt x="6823734" y="4490275"/>
                  <a:pt x="6835432" y="4490275"/>
                </a:cubicBezTo>
                <a:cubicBezTo>
                  <a:pt x="6851580" y="4490275"/>
                  <a:pt x="6867729" y="4487668"/>
                  <a:pt x="6884003" y="4487297"/>
                </a:cubicBezTo>
                <a:cubicBezTo>
                  <a:pt x="7115805" y="4481835"/>
                  <a:pt x="7347351" y="4469668"/>
                  <a:pt x="7578771" y="4454770"/>
                </a:cubicBezTo>
                <a:cubicBezTo>
                  <a:pt x="7927552" y="4432302"/>
                  <a:pt x="8276080" y="4404123"/>
                  <a:pt x="8623845" y="4367873"/>
                </a:cubicBezTo>
                <a:cubicBezTo>
                  <a:pt x="8909939" y="4338575"/>
                  <a:pt x="9195310" y="4303940"/>
                  <a:pt x="9479970" y="4263967"/>
                </a:cubicBezTo>
                <a:cubicBezTo>
                  <a:pt x="9864901" y="4209593"/>
                  <a:pt x="10248014" y="4144879"/>
                  <a:pt x="10629308" y="4069810"/>
                </a:cubicBezTo>
                <a:cubicBezTo>
                  <a:pt x="11090114" y="3978690"/>
                  <a:pt x="11546975" y="3871184"/>
                  <a:pt x="11998498" y="3743816"/>
                </a:cubicBezTo>
                <a:lnTo>
                  <a:pt x="12188952" y="3687715"/>
                </a:lnTo>
                <a:lnTo>
                  <a:pt x="12188952" y="3742439"/>
                </a:lnTo>
                <a:lnTo>
                  <a:pt x="11829257" y="3846853"/>
                </a:lnTo>
                <a:cubicBezTo>
                  <a:pt x="11534769" y="3926550"/>
                  <a:pt x="11238120" y="3997436"/>
                  <a:pt x="10939183" y="4061368"/>
                </a:cubicBezTo>
                <a:cubicBezTo>
                  <a:pt x="10622824" y="4129150"/>
                  <a:pt x="10304941" y="4189147"/>
                  <a:pt x="9985530" y="4241373"/>
                </a:cubicBezTo>
                <a:cubicBezTo>
                  <a:pt x="9720036" y="4284822"/>
                  <a:pt x="9453814" y="4323467"/>
                  <a:pt x="9186882" y="4357320"/>
                </a:cubicBezTo>
                <a:cubicBezTo>
                  <a:pt x="8984197" y="4382894"/>
                  <a:pt x="8781514" y="4406977"/>
                  <a:pt x="8578198" y="4426839"/>
                </a:cubicBezTo>
                <a:cubicBezTo>
                  <a:pt x="8340547" y="4449559"/>
                  <a:pt x="8102644" y="4471034"/>
                  <a:pt x="7864358" y="4488290"/>
                </a:cubicBezTo>
                <a:cubicBezTo>
                  <a:pt x="7554994" y="4510634"/>
                  <a:pt x="7245502" y="4528512"/>
                  <a:pt x="6935502" y="4539684"/>
                </a:cubicBezTo>
                <a:cubicBezTo>
                  <a:pt x="6782917" y="4545147"/>
                  <a:pt x="6630334" y="4548995"/>
                  <a:pt x="6477750" y="4553587"/>
                </a:cubicBezTo>
                <a:cubicBezTo>
                  <a:pt x="6439195" y="4551503"/>
                  <a:pt x="6400529" y="4553128"/>
                  <a:pt x="6362294" y="4558430"/>
                </a:cubicBezTo>
                <a:lnTo>
                  <a:pt x="6057129" y="4558430"/>
                </a:lnTo>
                <a:lnTo>
                  <a:pt x="5977784" y="4553836"/>
                </a:lnTo>
                <a:cubicBezTo>
                  <a:pt x="5740261" y="4541423"/>
                  <a:pt x="5502739" y="4527644"/>
                  <a:pt x="5265087" y="4517587"/>
                </a:cubicBezTo>
                <a:cubicBezTo>
                  <a:pt x="4958267" y="4505171"/>
                  <a:pt x="4651826" y="4484691"/>
                  <a:pt x="4346277" y="4455517"/>
                </a:cubicBezTo>
                <a:cubicBezTo>
                  <a:pt x="4021654" y="4424605"/>
                  <a:pt x="3697795" y="4389970"/>
                  <a:pt x="3373045" y="4356948"/>
                </a:cubicBezTo>
                <a:cubicBezTo>
                  <a:pt x="3035412" y="4322686"/>
                  <a:pt x="2698456" y="4283047"/>
                  <a:pt x="2362173" y="4238021"/>
                </a:cubicBezTo>
                <a:cubicBezTo>
                  <a:pt x="1984692" y="4187868"/>
                  <a:pt x="1608364" y="4130142"/>
                  <a:pt x="1233177" y="4064845"/>
                </a:cubicBezTo>
                <a:cubicBezTo>
                  <a:pt x="842181" y="3996132"/>
                  <a:pt x="453758" y="3917644"/>
                  <a:pt x="68500" y="3825138"/>
                </a:cubicBezTo>
                <a:lnTo>
                  <a:pt x="0" y="3807783"/>
                </a:lnTo>
                <a:lnTo>
                  <a:pt x="0" y="3751294"/>
                </a:lnTo>
                <a:lnTo>
                  <a:pt x="72441" y="3770071"/>
                </a:lnTo>
                <a:cubicBezTo>
                  <a:pt x="247961" y="3812249"/>
                  <a:pt x="424164" y="3851509"/>
                  <a:pt x="600716" y="3888441"/>
                </a:cubicBezTo>
                <a:cubicBezTo>
                  <a:pt x="988279" y="3969255"/>
                  <a:pt x="1378133" y="4038153"/>
                  <a:pt x="1769512" y="4098609"/>
                </a:cubicBezTo>
                <a:cubicBezTo>
                  <a:pt x="2052426" y="4142185"/>
                  <a:pt x="2335725" y="4182282"/>
                  <a:pt x="2613554" y="4215551"/>
                </a:cubicBezTo>
                <a:cubicBezTo>
                  <a:pt x="2605544" y="4218158"/>
                  <a:pt x="2594611" y="4208102"/>
                  <a:pt x="2581134" y="4205620"/>
                </a:cubicBezTo>
                <a:cubicBezTo>
                  <a:pt x="2087178" y="4113668"/>
                  <a:pt x="1597684" y="4002775"/>
                  <a:pt x="1112635" y="3872923"/>
                </a:cubicBezTo>
                <a:cubicBezTo>
                  <a:pt x="880453" y="3810852"/>
                  <a:pt x="649713" y="3744374"/>
                  <a:pt x="420412" y="3673490"/>
                </a:cubicBezTo>
                <a:lnTo>
                  <a:pt x="0" y="3534573"/>
                </a:lnTo>
                <a:close/>
              </a:path>
            </a:pathLst>
          </a:custGeom>
        </p:spPr>
      </p:pic>
      <p:sp>
        <p:nvSpPr>
          <p:cNvPr id="26" name="sketch line">
            <a:extLst>
              <a:ext uri="{FF2B5EF4-FFF2-40B4-BE49-F238E27FC236}">
                <a16:creationId xmlns:a16="http://schemas.microsoft.com/office/drawing/2014/main" id="{3540989C-C7B8-473B-BF87-6F2DA6A900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74529" y="5470492"/>
            <a:ext cx="1371600" cy="13716"/>
          </a:xfrm>
          <a:custGeom>
            <a:avLst/>
            <a:gdLst>
              <a:gd name="connsiteX0" fmla="*/ 0 w 1371600"/>
              <a:gd name="connsiteY0" fmla="*/ 0 h 13716"/>
              <a:gd name="connsiteX1" fmla="*/ 685800 w 1371600"/>
              <a:gd name="connsiteY1" fmla="*/ 0 h 13716"/>
              <a:gd name="connsiteX2" fmla="*/ 1371600 w 1371600"/>
              <a:gd name="connsiteY2" fmla="*/ 0 h 13716"/>
              <a:gd name="connsiteX3" fmla="*/ 1371600 w 1371600"/>
              <a:gd name="connsiteY3" fmla="*/ 13716 h 13716"/>
              <a:gd name="connsiteX4" fmla="*/ 713232 w 1371600"/>
              <a:gd name="connsiteY4" fmla="*/ 13716 h 13716"/>
              <a:gd name="connsiteX5" fmla="*/ 0 w 1371600"/>
              <a:gd name="connsiteY5" fmla="*/ 13716 h 13716"/>
              <a:gd name="connsiteX6" fmla="*/ 0 w 1371600"/>
              <a:gd name="connsiteY6" fmla="*/ 0 h 13716"/>
              <a:gd name="connsiteX0" fmla="*/ 0 w 1371600"/>
              <a:gd name="connsiteY0" fmla="*/ 0 h 13716"/>
              <a:gd name="connsiteX1" fmla="*/ 644652 w 1371600"/>
              <a:gd name="connsiteY1" fmla="*/ 0 h 13716"/>
              <a:gd name="connsiteX2" fmla="*/ 1371600 w 1371600"/>
              <a:gd name="connsiteY2" fmla="*/ 0 h 13716"/>
              <a:gd name="connsiteX3" fmla="*/ 1371600 w 1371600"/>
              <a:gd name="connsiteY3" fmla="*/ 13716 h 13716"/>
              <a:gd name="connsiteX4" fmla="*/ 713232 w 1371600"/>
              <a:gd name="connsiteY4" fmla="*/ 13716 h 13716"/>
              <a:gd name="connsiteX5" fmla="*/ 0 w 1371600"/>
              <a:gd name="connsiteY5" fmla="*/ 13716 h 13716"/>
              <a:gd name="connsiteX6" fmla="*/ 0 w 1371600"/>
              <a:gd name="connsiteY6"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13716" fill="none" extrusionOk="0">
                <a:moveTo>
                  <a:pt x="0" y="0"/>
                </a:moveTo>
                <a:cubicBezTo>
                  <a:pt x="240249" y="32963"/>
                  <a:pt x="409296" y="-18450"/>
                  <a:pt x="685800" y="0"/>
                </a:cubicBezTo>
                <a:cubicBezTo>
                  <a:pt x="954142" y="211"/>
                  <a:pt x="1166785" y="22353"/>
                  <a:pt x="1371600" y="0"/>
                </a:cubicBezTo>
                <a:cubicBezTo>
                  <a:pt x="1370996" y="3142"/>
                  <a:pt x="1371820" y="8880"/>
                  <a:pt x="1371600" y="13716"/>
                </a:cubicBezTo>
                <a:cubicBezTo>
                  <a:pt x="1106837" y="28424"/>
                  <a:pt x="1032834" y="20364"/>
                  <a:pt x="713232" y="13716"/>
                </a:cubicBezTo>
                <a:cubicBezTo>
                  <a:pt x="399250" y="-7822"/>
                  <a:pt x="277176" y="48782"/>
                  <a:pt x="0" y="13716"/>
                </a:cubicBezTo>
                <a:cubicBezTo>
                  <a:pt x="310" y="7052"/>
                  <a:pt x="119" y="6101"/>
                  <a:pt x="0" y="0"/>
                </a:cubicBezTo>
                <a:close/>
              </a:path>
              <a:path w="1371600" h="13716" stroke="0" extrusionOk="0">
                <a:moveTo>
                  <a:pt x="0" y="0"/>
                </a:moveTo>
                <a:cubicBezTo>
                  <a:pt x="168171" y="-27104"/>
                  <a:pt x="522270" y="7661"/>
                  <a:pt x="644652" y="0"/>
                </a:cubicBezTo>
                <a:cubicBezTo>
                  <a:pt x="812772" y="-55512"/>
                  <a:pt x="1098507" y="70876"/>
                  <a:pt x="1371600" y="0"/>
                </a:cubicBezTo>
                <a:cubicBezTo>
                  <a:pt x="1372276" y="6444"/>
                  <a:pt x="1371882" y="10524"/>
                  <a:pt x="1371600" y="13716"/>
                </a:cubicBezTo>
                <a:cubicBezTo>
                  <a:pt x="1195700" y="-500"/>
                  <a:pt x="896159" y="12360"/>
                  <a:pt x="713232" y="13716"/>
                </a:cubicBezTo>
                <a:cubicBezTo>
                  <a:pt x="556279" y="-18909"/>
                  <a:pt x="248593" y="33389"/>
                  <a:pt x="0" y="13716"/>
                </a:cubicBezTo>
                <a:cubicBezTo>
                  <a:pt x="708" y="8775"/>
                  <a:pt x="205" y="3193"/>
                  <a:pt x="0" y="0"/>
                </a:cubicBezTo>
                <a:close/>
              </a:path>
              <a:path w="1371600" h="13716" fill="none" stroke="0" extrusionOk="0">
                <a:moveTo>
                  <a:pt x="0" y="0"/>
                </a:moveTo>
                <a:cubicBezTo>
                  <a:pt x="244262" y="19623"/>
                  <a:pt x="384306" y="-36563"/>
                  <a:pt x="685800" y="0"/>
                </a:cubicBezTo>
                <a:cubicBezTo>
                  <a:pt x="948860" y="14963"/>
                  <a:pt x="1224146" y="-8100"/>
                  <a:pt x="1371600" y="0"/>
                </a:cubicBezTo>
                <a:cubicBezTo>
                  <a:pt x="1371106" y="3035"/>
                  <a:pt x="1371590" y="7528"/>
                  <a:pt x="1371600" y="13716"/>
                </a:cubicBezTo>
                <a:cubicBezTo>
                  <a:pt x="1096935" y="20595"/>
                  <a:pt x="1028598" y="23761"/>
                  <a:pt x="713232" y="13716"/>
                </a:cubicBezTo>
                <a:cubicBezTo>
                  <a:pt x="397901" y="-1585"/>
                  <a:pt x="274098" y="18066"/>
                  <a:pt x="0" y="13716"/>
                </a:cubicBezTo>
                <a:cubicBezTo>
                  <a:pt x="190" y="7214"/>
                  <a:pt x="-13" y="5978"/>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615697673">
                  <a:custGeom>
                    <a:avLst/>
                    <a:gdLst>
                      <a:gd name="connsiteX0" fmla="*/ 0 w 1371600"/>
                      <a:gd name="connsiteY0" fmla="*/ 0 h 13716"/>
                      <a:gd name="connsiteX1" fmla="*/ 685800 w 1371600"/>
                      <a:gd name="connsiteY1" fmla="*/ 0 h 13716"/>
                      <a:gd name="connsiteX2" fmla="*/ 1371600 w 1371600"/>
                      <a:gd name="connsiteY2" fmla="*/ 0 h 13716"/>
                      <a:gd name="connsiteX3" fmla="*/ 1371600 w 1371600"/>
                      <a:gd name="connsiteY3" fmla="*/ 13716 h 13716"/>
                      <a:gd name="connsiteX4" fmla="*/ 713232 w 1371600"/>
                      <a:gd name="connsiteY4" fmla="*/ 13716 h 13716"/>
                      <a:gd name="connsiteX5" fmla="*/ 0 w 1371600"/>
                      <a:gd name="connsiteY5" fmla="*/ 13716 h 13716"/>
                      <a:gd name="connsiteX6" fmla="*/ 0 w 1371600"/>
                      <a:gd name="connsiteY6"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13716" fill="none" extrusionOk="0">
                        <a:moveTo>
                          <a:pt x="0" y="0"/>
                        </a:moveTo>
                        <a:cubicBezTo>
                          <a:pt x="247303" y="31625"/>
                          <a:pt x="422310" y="-25629"/>
                          <a:pt x="685800" y="0"/>
                        </a:cubicBezTo>
                        <a:cubicBezTo>
                          <a:pt x="949290" y="25629"/>
                          <a:pt x="1192357" y="6696"/>
                          <a:pt x="1371600" y="0"/>
                        </a:cubicBezTo>
                        <a:cubicBezTo>
                          <a:pt x="1371127" y="2892"/>
                          <a:pt x="1371229" y="8681"/>
                          <a:pt x="1371600" y="13716"/>
                        </a:cubicBezTo>
                        <a:cubicBezTo>
                          <a:pt x="1107995" y="21892"/>
                          <a:pt x="1033361" y="28370"/>
                          <a:pt x="713232" y="13716"/>
                        </a:cubicBezTo>
                        <a:cubicBezTo>
                          <a:pt x="393103" y="-938"/>
                          <a:pt x="289343" y="38649"/>
                          <a:pt x="0" y="13716"/>
                        </a:cubicBezTo>
                        <a:cubicBezTo>
                          <a:pt x="227" y="7219"/>
                          <a:pt x="197" y="5990"/>
                          <a:pt x="0" y="0"/>
                        </a:cubicBezTo>
                        <a:close/>
                      </a:path>
                      <a:path w="1371600" h="13716" stroke="0" extrusionOk="0">
                        <a:moveTo>
                          <a:pt x="0" y="0"/>
                        </a:moveTo>
                        <a:cubicBezTo>
                          <a:pt x="170249" y="-24099"/>
                          <a:pt x="504634" y="14338"/>
                          <a:pt x="644652" y="0"/>
                        </a:cubicBezTo>
                        <a:cubicBezTo>
                          <a:pt x="784670" y="-14338"/>
                          <a:pt x="1087773" y="8679"/>
                          <a:pt x="1371600" y="0"/>
                        </a:cubicBezTo>
                        <a:cubicBezTo>
                          <a:pt x="1372228" y="6235"/>
                          <a:pt x="1371259" y="10206"/>
                          <a:pt x="1371600" y="13716"/>
                        </a:cubicBezTo>
                        <a:cubicBezTo>
                          <a:pt x="1176823" y="-5981"/>
                          <a:pt x="900830" y="5417"/>
                          <a:pt x="713232" y="13716"/>
                        </a:cubicBezTo>
                        <a:cubicBezTo>
                          <a:pt x="525634" y="22015"/>
                          <a:pt x="282837" y="1152"/>
                          <a:pt x="0" y="13716"/>
                        </a:cubicBezTo>
                        <a:cubicBezTo>
                          <a:pt x="596" y="8712"/>
                          <a:pt x="320" y="3422"/>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035B2BDF-F0F9-6900-855E-846051BC4659}"/>
              </a:ext>
            </a:extLst>
          </p:cNvPr>
          <p:cNvSpPr>
            <a:spLocks noGrp="1"/>
          </p:cNvSpPr>
          <p:nvPr>
            <p:ph sz="half" idx="1"/>
          </p:nvPr>
        </p:nvSpPr>
        <p:spPr>
          <a:xfrm>
            <a:off x="3490720" y="4777739"/>
            <a:ext cx="5173220" cy="1399223"/>
          </a:xfrm>
        </p:spPr>
        <p:txBody>
          <a:bodyPr vert="horz" lIns="91440" tIns="45720" rIns="91440" bIns="45720" rtlCol="0" anchor="ctr">
            <a:normAutofit fontScale="92500" lnSpcReduction="20000"/>
          </a:bodyPr>
          <a:lstStyle/>
          <a:p>
            <a:pPr indent="-228600">
              <a:lnSpc>
                <a:spcPct val="90000"/>
              </a:lnSpc>
            </a:pPr>
            <a:r>
              <a:rPr lang="en-US" sz="2000" dirty="0"/>
              <a:t>Impaired=7</a:t>
            </a:r>
          </a:p>
          <a:p>
            <a:pPr indent="-228600">
              <a:lnSpc>
                <a:spcPct val="90000"/>
              </a:lnSpc>
            </a:pPr>
            <a:r>
              <a:rPr lang="en-US" sz="2000" dirty="0"/>
              <a:t>Distracted=1</a:t>
            </a:r>
          </a:p>
          <a:p>
            <a:pPr indent="-228600">
              <a:lnSpc>
                <a:spcPct val="90000"/>
              </a:lnSpc>
            </a:pPr>
            <a:r>
              <a:rPr lang="en-US" sz="2000" dirty="0"/>
              <a:t>Drowsy=1</a:t>
            </a:r>
          </a:p>
          <a:p>
            <a:pPr indent="-228600">
              <a:lnSpc>
                <a:spcPct val="90000"/>
              </a:lnSpc>
            </a:pPr>
            <a:r>
              <a:rPr lang="en-US" sz="2000" dirty="0"/>
              <a:t>Inattention or officer error=3</a:t>
            </a:r>
          </a:p>
          <a:p>
            <a:pPr indent="-228600">
              <a:lnSpc>
                <a:spcPct val="90000"/>
              </a:lnSpc>
            </a:pPr>
            <a:r>
              <a:rPr lang="en-US" sz="2000" dirty="0"/>
              <a:t>Violation of SDMO=4</a:t>
            </a:r>
          </a:p>
        </p:txBody>
      </p:sp>
    </p:spTree>
    <p:extLst>
      <p:ext uri="{BB962C8B-B14F-4D97-AF65-F5344CB8AC3E}">
        <p14:creationId xmlns:p14="http://schemas.microsoft.com/office/powerpoint/2010/main" val="21295487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6DBFCBF-E869-4150-807D-0EA34DD58B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519225-750A-7486-78E1-2E70FC3171E8}"/>
              </a:ext>
            </a:extLst>
          </p:cNvPr>
          <p:cNvSpPr>
            <a:spLocks noGrp="1"/>
          </p:cNvSpPr>
          <p:nvPr>
            <p:ph type="title"/>
          </p:nvPr>
        </p:nvSpPr>
        <p:spPr>
          <a:xfrm>
            <a:off x="628649" y="4428000"/>
            <a:ext cx="4607719" cy="1400400"/>
          </a:xfrm>
        </p:spPr>
        <p:txBody>
          <a:bodyPr vert="horz" wrap="square" lIns="91440" tIns="45720" rIns="91440" bIns="45720" rtlCol="0" anchor="b">
            <a:normAutofit/>
          </a:bodyPr>
          <a:lstStyle/>
          <a:p>
            <a:pPr algn="l">
              <a:lnSpc>
                <a:spcPct val="90000"/>
              </a:lnSpc>
            </a:pPr>
            <a:r>
              <a:rPr lang="en-US" sz="4500" kern="1200" dirty="0">
                <a:solidFill>
                  <a:schemeClr val="bg1"/>
                </a:solidFill>
                <a:latin typeface="+mj-lt"/>
                <a:ea typeface="+mj-ea"/>
                <a:cs typeface="+mj-cs"/>
              </a:rPr>
              <a:t>Tire Deflation Devices 2023</a:t>
            </a:r>
          </a:p>
        </p:txBody>
      </p:sp>
      <p:pic>
        <p:nvPicPr>
          <p:cNvPr id="4" name="Picture 3" descr="A person in a uniform&#10;&#10;Description automatically generated">
            <a:extLst>
              <a:ext uri="{FF2B5EF4-FFF2-40B4-BE49-F238E27FC236}">
                <a16:creationId xmlns:a16="http://schemas.microsoft.com/office/drawing/2014/main" id="{7E4EB622-DAA3-2338-24BE-872D4AB45804}"/>
              </a:ext>
            </a:extLst>
          </p:cNvPr>
          <p:cNvPicPr>
            <a:picLocks noChangeAspect="1"/>
          </p:cNvPicPr>
          <p:nvPr/>
        </p:nvPicPr>
        <p:blipFill rotWithShape="1">
          <a:blip r:embed="rId3">
            <a:extLst>
              <a:ext uri="{28A0092B-C50C-407E-A947-70E740481C1C}">
                <a14:useLocalDpi xmlns:a14="http://schemas.microsoft.com/office/drawing/2010/main" val="0"/>
              </a:ext>
            </a:extLst>
          </a:blip>
          <a:srcRect l="15813" r="13942" b="5"/>
          <a:stretch/>
        </p:blipFill>
        <p:spPr>
          <a:xfrm>
            <a:off x="-3" y="10"/>
            <a:ext cx="2214562" cy="3940619"/>
          </a:xfrm>
          <a:custGeom>
            <a:avLst/>
            <a:gdLst/>
            <a:ahLst/>
            <a:cxnLst/>
            <a:rect l="l" t="t" r="r" b="b"/>
            <a:pathLst>
              <a:path w="2952750" h="3940629">
                <a:moveTo>
                  <a:pt x="0" y="0"/>
                </a:moveTo>
                <a:lnTo>
                  <a:pt x="2952750" y="0"/>
                </a:lnTo>
                <a:lnTo>
                  <a:pt x="2952749" y="3847994"/>
                </a:lnTo>
                <a:lnTo>
                  <a:pt x="0" y="3940629"/>
                </a:lnTo>
                <a:close/>
              </a:path>
            </a:pathLst>
          </a:custGeom>
        </p:spPr>
      </p:pic>
      <p:pic>
        <p:nvPicPr>
          <p:cNvPr id="8" name="Content Placeholder 7" descr="A person in a police uniform&#10;&#10;Description automatically generated">
            <a:extLst>
              <a:ext uri="{FF2B5EF4-FFF2-40B4-BE49-F238E27FC236}">
                <a16:creationId xmlns:a16="http://schemas.microsoft.com/office/drawing/2014/main" id="{7244E532-0FD6-B23C-C94D-4BDD7B4D2B47}"/>
              </a:ext>
            </a:extLst>
          </p:cNvPr>
          <p:cNvPicPr>
            <a:picLocks noGrp="1" noChangeAspect="1"/>
          </p:cNvPicPr>
          <p:nvPr>
            <p:ph sz="half" idx="2"/>
          </p:nvPr>
        </p:nvPicPr>
        <p:blipFill rotWithShape="1">
          <a:blip r:embed="rId4">
            <a:extLst>
              <a:ext uri="{28A0092B-C50C-407E-A947-70E740481C1C}">
                <a14:useLocalDpi xmlns:a14="http://schemas.microsoft.com/office/drawing/2010/main" val="0"/>
              </a:ext>
            </a:extLst>
          </a:blip>
          <a:srcRect l="16543" r="13730"/>
          <a:stretch/>
        </p:blipFill>
        <p:spPr>
          <a:xfrm>
            <a:off x="2357439" y="10"/>
            <a:ext cx="2143125" cy="3842008"/>
          </a:xfrm>
          <a:custGeom>
            <a:avLst/>
            <a:gdLst/>
            <a:ahLst/>
            <a:cxnLst/>
            <a:rect l="l" t="t" r="r" b="b"/>
            <a:pathLst>
              <a:path w="2857499" h="3842018">
                <a:moveTo>
                  <a:pt x="0" y="0"/>
                </a:moveTo>
                <a:lnTo>
                  <a:pt x="2857499" y="0"/>
                </a:lnTo>
                <a:lnTo>
                  <a:pt x="2857499" y="3799815"/>
                </a:lnTo>
                <a:lnTo>
                  <a:pt x="2408465" y="3766458"/>
                </a:lnTo>
                <a:lnTo>
                  <a:pt x="0" y="3842018"/>
                </a:lnTo>
                <a:close/>
              </a:path>
            </a:pathLst>
          </a:custGeom>
        </p:spPr>
      </p:pic>
      <p:pic>
        <p:nvPicPr>
          <p:cNvPr id="7" name="Picture 6" descr="A person in a vest&#10;&#10;Description automatically generated">
            <a:extLst>
              <a:ext uri="{FF2B5EF4-FFF2-40B4-BE49-F238E27FC236}">
                <a16:creationId xmlns:a16="http://schemas.microsoft.com/office/drawing/2014/main" id="{14F6FAF1-D5E0-EC09-AF2E-93267DB69A28}"/>
              </a:ext>
            </a:extLst>
          </p:cNvPr>
          <p:cNvPicPr>
            <a:picLocks noChangeAspect="1"/>
          </p:cNvPicPr>
          <p:nvPr/>
        </p:nvPicPr>
        <p:blipFill rotWithShape="1">
          <a:blip r:embed="rId5">
            <a:extLst>
              <a:ext uri="{28A0092B-C50C-407E-A947-70E740481C1C}">
                <a14:useLocalDpi xmlns:a14="http://schemas.microsoft.com/office/drawing/2010/main" val="0"/>
              </a:ext>
            </a:extLst>
          </a:blip>
          <a:srcRect l="20762" r="12760" b="-1"/>
          <a:stretch/>
        </p:blipFill>
        <p:spPr>
          <a:xfrm>
            <a:off x="4643438" y="10"/>
            <a:ext cx="2143124" cy="4026227"/>
          </a:xfrm>
          <a:custGeom>
            <a:avLst/>
            <a:gdLst/>
            <a:ahLst/>
            <a:cxnLst/>
            <a:rect l="l" t="t" r="r" b="b"/>
            <a:pathLst>
              <a:path w="2857499" h="4026237">
                <a:moveTo>
                  <a:pt x="0" y="0"/>
                </a:moveTo>
                <a:lnTo>
                  <a:pt x="2857499" y="0"/>
                </a:lnTo>
                <a:lnTo>
                  <a:pt x="2857499" y="4026237"/>
                </a:lnTo>
                <a:lnTo>
                  <a:pt x="0" y="3813966"/>
                </a:lnTo>
                <a:close/>
              </a:path>
            </a:pathLst>
          </a:custGeom>
        </p:spPr>
      </p:pic>
      <p:pic>
        <p:nvPicPr>
          <p:cNvPr id="6" name="Content Placeholder 5" descr="A close-up of a police officer&#10;&#10;Description automatically generated">
            <a:extLst>
              <a:ext uri="{FF2B5EF4-FFF2-40B4-BE49-F238E27FC236}">
                <a16:creationId xmlns:a16="http://schemas.microsoft.com/office/drawing/2014/main" id="{3BC7FDCD-21BE-E1DC-06CD-99945A62AFE5}"/>
              </a:ext>
            </a:extLst>
          </p:cNvPr>
          <p:cNvPicPr>
            <a:picLocks noGrp="1" noChangeAspect="1"/>
          </p:cNvPicPr>
          <p:nvPr>
            <p:ph sz="half" idx="1"/>
          </p:nvPr>
        </p:nvPicPr>
        <p:blipFill rotWithShape="1">
          <a:blip r:embed="rId6">
            <a:extLst>
              <a:ext uri="{28A0092B-C50C-407E-A947-70E740481C1C}">
                <a14:useLocalDpi xmlns:a14="http://schemas.microsoft.com/office/drawing/2010/main" val="0"/>
              </a:ext>
            </a:extLst>
          </a:blip>
          <a:srcRect l="10785" r="20858" b="4"/>
          <a:stretch/>
        </p:blipFill>
        <p:spPr>
          <a:xfrm>
            <a:off x="6929436" y="10"/>
            <a:ext cx="2214564" cy="4049475"/>
          </a:xfrm>
          <a:custGeom>
            <a:avLst/>
            <a:gdLst/>
            <a:ahLst/>
            <a:cxnLst/>
            <a:rect l="l" t="t" r="r" b="b"/>
            <a:pathLst>
              <a:path w="2952751" h="4049485">
                <a:moveTo>
                  <a:pt x="0" y="0"/>
                </a:moveTo>
                <a:lnTo>
                  <a:pt x="2952751" y="0"/>
                </a:lnTo>
                <a:lnTo>
                  <a:pt x="2952750" y="3940629"/>
                </a:lnTo>
                <a:lnTo>
                  <a:pt x="122465" y="4049485"/>
                </a:lnTo>
                <a:lnTo>
                  <a:pt x="0" y="4040388"/>
                </a:lnTo>
                <a:close/>
              </a:path>
            </a:pathLst>
          </a:custGeom>
        </p:spPr>
      </p:pic>
      <p:grpSp>
        <p:nvGrpSpPr>
          <p:cNvPr id="27" name="Group 26">
            <a:extLst>
              <a:ext uri="{FF2B5EF4-FFF2-40B4-BE49-F238E27FC236}">
                <a16:creationId xmlns:a16="http://schemas.microsoft.com/office/drawing/2014/main" id="{AC0B7807-0C83-4963-821A-69B172722E4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3528992"/>
            <a:ext cx="9144000" cy="757168"/>
            <a:chOff x="0" y="2959818"/>
            <a:chExt cx="12192000" cy="757168"/>
          </a:xfrm>
        </p:grpSpPr>
        <p:sp>
          <p:nvSpPr>
            <p:cNvPr id="25" name="Freeform: Shape 24">
              <a:extLst>
                <a:ext uri="{FF2B5EF4-FFF2-40B4-BE49-F238E27FC236}">
                  <a16:creationId xmlns:a16="http://schemas.microsoft.com/office/drawing/2014/main" id="{BB027EC7-3252-48A2-A7A4-1741F72E47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959818"/>
              <a:ext cx="12192000" cy="757168"/>
            </a:xfrm>
            <a:custGeom>
              <a:avLst/>
              <a:gdLst>
                <a:gd name="connsiteX0" fmla="*/ 0 w 12192000"/>
                <a:gd name="connsiteY0" fmla="*/ 0 h 757168"/>
                <a:gd name="connsiteX1" fmla="*/ 41653 w 12192000"/>
                <a:gd name="connsiteY1" fmla="*/ 6945 h 757168"/>
                <a:gd name="connsiteX2" fmla="*/ 81317 w 12192000"/>
                <a:gd name="connsiteY2" fmla="*/ 15509 h 757168"/>
                <a:gd name="connsiteX3" fmla="*/ 114150 w 12192000"/>
                <a:gd name="connsiteY3" fmla="*/ 28105 h 757168"/>
                <a:gd name="connsiteX4" fmla="*/ 214865 w 12192000"/>
                <a:gd name="connsiteY4" fmla="*/ 58374 h 757168"/>
                <a:gd name="connsiteX5" fmla="*/ 299237 w 12192000"/>
                <a:gd name="connsiteY5" fmla="*/ 63560 h 757168"/>
                <a:gd name="connsiteX6" fmla="*/ 415570 w 12192000"/>
                <a:gd name="connsiteY6" fmla="*/ 83774 h 757168"/>
                <a:gd name="connsiteX7" fmla="*/ 633210 w 12192000"/>
                <a:gd name="connsiteY7" fmla="*/ 109108 h 757168"/>
                <a:gd name="connsiteX8" fmla="*/ 677567 w 12192000"/>
                <a:gd name="connsiteY8" fmla="*/ 119446 h 757168"/>
                <a:gd name="connsiteX9" fmla="*/ 946429 w 12192000"/>
                <a:gd name="connsiteY9" fmla="*/ 171502 h 757168"/>
                <a:gd name="connsiteX10" fmla="*/ 1163367 w 12192000"/>
                <a:gd name="connsiteY10" fmla="*/ 182106 h 757168"/>
                <a:gd name="connsiteX11" fmla="*/ 1180337 w 12192000"/>
                <a:gd name="connsiteY11" fmla="*/ 181279 h 757168"/>
                <a:gd name="connsiteX12" fmla="*/ 1263939 w 12192000"/>
                <a:gd name="connsiteY12" fmla="*/ 173070 h 757168"/>
                <a:gd name="connsiteX13" fmla="*/ 1392213 w 12192000"/>
                <a:gd name="connsiteY13" fmla="*/ 183225 h 757168"/>
                <a:gd name="connsiteX14" fmla="*/ 1479752 w 12192000"/>
                <a:gd name="connsiteY14" fmla="*/ 205174 h 757168"/>
                <a:gd name="connsiteX15" fmla="*/ 1589813 w 12192000"/>
                <a:gd name="connsiteY15" fmla="*/ 211706 h 757168"/>
                <a:gd name="connsiteX16" fmla="*/ 1716264 w 12192000"/>
                <a:gd name="connsiteY16" fmla="*/ 207459 h 757168"/>
                <a:gd name="connsiteX17" fmla="*/ 1772900 w 12192000"/>
                <a:gd name="connsiteY17" fmla="*/ 208137 h 757168"/>
                <a:gd name="connsiteX18" fmla="*/ 1929319 w 12192000"/>
                <a:gd name="connsiteY18" fmla="*/ 193822 h 757168"/>
                <a:gd name="connsiteX19" fmla="*/ 2021514 w 12192000"/>
                <a:gd name="connsiteY19" fmla="*/ 204186 h 757168"/>
                <a:gd name="connsiteX20" fmla="*/ 2111753 w 12192000"/>
                <a:gd name="connsiteY20" fmla="*/ 223797 h 757168"/>
                <a:gd name="connsiteX21" fmla="*/ 2169356 w 12192000"/>
                <a:gd name="connsiteY21" fmla="*/ 241125 h 757168"/>
                <a:gd name="connsiteX22" fmla="*/ 2286638 w 12192000"/>
                <a:gd name="connsiteY22" fmla="*/ 257382 h 757168"/>
                <a:gd name="connsiteX23" fmla="*/ 2308368 w 12192000"/>
                <a:gd name="connsiteY23" fmla="*/ 256995 h 757168"/>
                <a:gd name="connsiteX24" fmla="*/ 2660621 w 12192000"/>
                <a:gd name="connsiteY24" fmla="*/ 262863 h 757168"/>
                <a:gd name="connsiteX25" fmla="*/ 2801134 w 12192000"/>
                <a:gd name="connsiteY25" fmla="*/ 250006 h 757168"/>
                <a:gd name="connsiteX26" fmla="*/ 2830994 w 12192000"/>
                <a:gd name="connsiteY26" fmla="*/ 249091 h 757168"/>
                <a:gd name="connsiteX27" fmla="*/ 3129084 w 12192000"/>
                <a:gd name="connsiteY27" fmla="*/ 242009 h 757168"/>
                <a:gd name="connsiteX28" fmla="*/ 3162162 w 12192000"/>
                <a:gd name="connsiteY28" fmla="*/ 242789 h 757168"/>
                <a:gd name="connsiteX29" fmla="*/ 3254072 w 12192000"/>
                <a:gd name="connsiteY29" fmla="*/ 251612 h 757168"/>
                <a:gd name="connsiteX30" fmla="*/ 3473491 w 12192000"/>
                <a:gd name="connsiteY30" fmla="*/ 221903 h 757168"/>
                <a:gd name="connsiteX31" fmla="*/ 3691860 w 12192000"/>
                <a:gd name="connsiteY31" fmla="*/ 219228 h 757168"/>
                <a:gd name="connsiteX32" fmla="*/ 3811494 w 12192000"/>
                <a:gd name="connsiteY32" fmla="*/ 225691 h 757168"/>
                <a:gd name="connsiteX33" fmla="*/ 3897533 w 12192000"/>
                <a:gd name="connsiteY33" fmla="*/ 220087 h 757168"/>
                <a:gd name="connsiteX34" fmla="*/ 4109430 w 12192000"/>
                <a:gd name="connsiteY34" fmla="*/ 200477 h 757168"/>
                <a:gd name="connsiteX35" fmla="*/ 4208772 w 12192000"/>
                <a:gd name="connsiteY35" fmla="*/ 200914 h 757168"/>
                <a:gd name="connsiteX36" fmla="*/ 4314641 w 12192000"/>
                <a:gd name="connsiteY36" fmla="*/ 196159 h 757168"/>
                <a:gd name="connsiteX37" fmla="*/ 4577622 w 12192000"/>
                <a:gd name="connsiteY37" fmla="*/ 163774 h 757168"/>
                <a:gd name="connsiteX38" fmla="*/ 4790345 w 12192000"/>
                <a:gd name="connsiteY38" fmla="*/ 177592 h 757168"/>
                <a:gd name="connsiteX39" fmla="*/ 4926164 w 12192000"/>
                <a:gd name="connsiteY39" fmla="*/ 184139 h 757168"/>
                <a:gd name="connsiteX40" fmla="*/ 5088812 w 12192000"/>
                <a:gd name="connsiteY40" fmla="*/ 177401 h 757168"/>
                <a:gd name="connsiteX41" fmla="*/ 5222466 w 12192000"/>
                <a:gd name="connsiteY41" fmla="*/ 162082 h 757168"/>
                <a:gd name="connsiteX42" fmla="*/ 5406528 w 12192000"/>
                <a:gd name="connsiteY42" fmla="*/ 153987 h 757168"/>
                <a:gd name="connsiteX43" fmla="*/ 5590716 w 12192000"/>
                <a:gd name="connsiteY43" fmla="*/ 129490 h 757168"/>
                <a:gd name="connsiteX44" fmla="*/ 5719429 w 12192000"/>
                <a:gd name="connsiteY44" fmla="*/ 110099 h 757168"/>
                <a:gd name="connsiteX45" fmla="*/ 5897895 w 12192000"/>
                <a:gd name="connsiteY45" fmla="*/ 96368 h 757168"/>
                <a:gd name="connsiteX46" fmla="*/ 6169957 w 12192000"/>
                <a:gd name="connsiteY46" fmla="*/ 94411 h 757168"/>
                <a:gd name="connsiteX47" fmla="*/ 6294827 w 12192000"/>
                <a:gd name="connsiteY47" fmla="*/ 99236 h 757168"/>
                <a:gd name="connsiteX48" fmla="*/ 6494261 w 12192000"/>
                <a:gd name="connsiteY48" fmla="*/ 71724 h 757168"/>
                <a:gd name="connsiteX49" fmla="*/ 6579627 w 12192000"/>
                <a:gd name="connsiteY49" fmla="*/ 57883 h 757168"/>
                <a:gd name="connsiteX50" fmla="*/ 6654800 w 12192000"/>
                <a:gd name="connsiteY50" fmla="*/ 77086 h 757168"/>
                <a:gd name="connsiteX51" fmla="*/ 6703059 w 12192000"/>
                <a:gd name="connsiteY51" fmla="*/ 97166 h 757168"/>
                <a:gd name="connsiteX52" fmla="*/ 6859445 w 12192000"/>
                <a:gd name="connsiteY52" fmla="*/ 90481 h 757168"/>
                <a:gd name="connsiteX53" fmla="*/ 7025414 w 12192000"/>
                <a:gd name="connsiteY53" fmla="*/ 83536 h 757168"/>
                <a:gd name="connsiteX54" fmla="*/ 7144137 w 12192000"/>
                <a:gd name="connsiteY54" fmla="*/ 79264 h 757168"/>
                <a:gd name="connsiteX55" fmla="*/ 7291235 w 12192000"/>
                <a:gd name="connsiteY55" fmla="*/ 95367 h 757168"/>
                <a:gd name="connsiteX56" fmla="*/ 7407395 w 12192000"/>
                <a:gd name="connsiteY56" fmla="*/ 104888 h 757168"/>
                <a:gd name="connsiteX57" fmla="*/ 7500837 w 12192000"/>
                <a:gd name="connsiteY57" fmla="*/ 119515 h 757168"/>
                <a:gd name="connsiteX58" fmla="*/ 7533567 w 12192000"/>
                <a:gd name="connsiteY58" fmla="*/ 126955 h 757168"/>
                <a:gd name="connsiteX59" fmla="*/ 7792910 w 12192000"/>
                <a:gd name="connsiteY59" fmla="*/ 185188 h 757168"/>
                <a:gd name="connsiteX60" fmla="*/ 8070699 w 12192000"/>
                <a:gd name="connsiteY60" fmla="*/ 235423 h 757168"/>
                <a:gd name="connsiteX61" fmla="*/ 8253177 w 12192000"/>
                <a:gd name="connsiteY61" fmla="*/ 222473 h 757168"/>
                <a:gd name="connsiteX62" fmla="*/ 8320683 w 12192000"/>
                <a:gd name="connsiteY62" fmla="*/ 226393 h 757168"/>
                <a:gd name="connsiteX63" fmla="*/ 8631438 w 12192000"/>
                <a:gd name="connsiteY63" fmla="*/ 237528 h 757168"/>
                <a:gd name="connsiteX64" fmla="*/ 8686410 w 12192000"/>
                <a:gd name="connsiteY64" fmla="*/ 234877 h 757168"/>
                <a:gd name="connsiteX65" fmla="*/ 8980658 w 12192000"/>
                <a:gd name="connsiteY65" fmla="*/ 273001 h 757168"/>
                <a:gd name="connsiteX66" fmla="*/ 9087625 w 12192000"/>
                <a:gd name="connsiteY66" fmla="*/ 282423 h 757168"/>
                <a:gd name="connsiteX67" fmla="*/ 9186017 w 12192000"/>
                <a:gd name="connsiteY67" fmla="*/ 293875 h 757168"/>
                <a:gd name="connsiteX68" fmla="*/ 9323931 w 12192000"/>
                <a:gd name="connsiteY68" fmla="*/ 302628 h 757168"/>
                <a:gd name="connsiteX69" fmla="*/ 9467213 w 12192000"/>
                <a:gd name="connsiteY69" fmla="*/ 307275 h 757168"/>
                <a:gd name="connsiteX70" fmla="*/ 9626826 w 12192000"/>
                <a:gd name="connsiteY70" fmla="*/ 316213 h 757168"/>
                <a:gd name="connsiteX71" fmla="*/ 9689696 w 12192000"/>
                <a:gd name="connsiteY71" fmla="*/ 324467 h 757168"/>
                <a:gd name="connsiteX72" fmla="*/ 9860526 w 12192000"/>
                <a:gd name="connsiteY72" fmla="*/ 329986 h 757168"/>
                <a:gd name="connsiteX73" fmla="*/ 9949775 w 12192000"/>
                <a:gd name="connsiteY73" fmla="*/ 340386 h 757168"/>
                <a:gd name="connsiteX74" fmla="*/ 10097252 w 12192000"/>
                <a:gd name="connsiteY74" fmla="*/ 349262 h 757168"/>
                <a:gd name="connsiteX75" fmla="*/ 10145261 w 12192000"/>
                <a:gd name="connsiteY75" fmla="*/ 353113 h 757168"/>
                <a:gd name="connsiteX76" fmla="*/ 10188159 w 12192000"/>
                <a:gd name="connsiteY76" fmla="*/ 356124 h 757168"/>
                <a:gd name="connsiteX77" fmla="*/ 10336144 w 12192000"/>
                <a:gd name="connsiteY77" fmla="*/ 348235 h 757168"/>
                <a:gd name="connsiteX78" fmla="*/ 10466847 w 12192000"/>
                <a:gd name="connsiteY78" fmla="*/ 354131 h 757168"/>
                <a:gd name="connsiteX79" fmla="*/ 10696514 w 12192000"/>
                <a:gd name="connsiteY79" fmla="*/ 353575 h 757168"/>
                <a:gd name="connsiteX80" fmla="*/ 10746932 w 12192000"/>
                <a:gd name="connsiteY80" fmla="*/ 360606 h 757168"/>
                <a:gd name="connsiteX81" fmla="*/ 10905388 w 12192000"/>
                <a:gd name="connsiteY81" fmla="*/ 370627 h 757168"/>
                <a:gd name="connsiteX82" fmla="*/ 10995602 w 12192000"/>
                <a:gd name="connsiteY82" fmla="*/ 376691 h 757168"/>
                <a:gd name="connsiteX83" fmla="*/ 11107647 w 12192000"/>
                <a:gd name="connsiteY83" fmla="*/ 373405 h 757168"/>
                <a:gd name="connsiteX84" fmla="*/ 11302440 w 12192000"/>
                <a:gd name="connsiteY84" fmla="*/ 364156 h 757168"/>
                <a:gd name="connsiteX85" fmla="*/ 11353613 w 12192000"/>
                <a:gd name="connsiteY85" fmla="*/ 363785 h 757168"/>
                <a:gd name="connsiteX86" fmla="*/ 11447323 w 12192000"/>
                <a:gd name="connsiteY86" fmla="*/ 359346 h 757168"/>
                <a:gd name="connsiteX87" fmla="*/ 11464292 w 12192000"/>
                <a:gd name="connsiteY87" fmla="*/ 358519 h 757168"/>
                <a:gd name="connsiteX88" fmla="*/ 11607560 w 12192000"/>
                <a:gd name="connsiteY88" fmla="*/ 342370 h 757168"/>
                <a:gd name="connsiteX89" fmla="*/ 11681426 w 12192000"/>
                <a:gd name="connsiteY89" fmla="*/ 344335 h 757168"/>
                <a:gd name="connsiteX90" fmla="*/ 11893565 w 12192000"/>
                <a:gd name="connsiteY90" fmla="*/ 355261 h 757168"/>
                <a:gd name="connsiteX91" fmla="*/ 11983290 w 12192000"/>
                <a:gd name="connsiteY91" fmla="*/ 363588 h 757168"/>
                <a:gd name="connsiteX92" fmla="*/ 12192000 w 12192000"/>
                <a:gd name="connsiteY92" fmla="*/ 388018 h 757168"/>
                <a:gd name="connsiteX93" fmla="*/ 12192000 w 12192000"/>
                <a:gd name="connsiteY93" fmla="*/ 577115 h 757168"/>
                <a:gd name="connsiteX94" fmla="*/ 12157329 w 12192000"/>
                <a:gd name="connsiteY94" fmla="*/ 588862 h 757168"/>
                <a:gd name="connsiteX95" fmla="*/ 12066948 w 12192000"/>
                <a:gd name="connsiteY95" fmla="*/ 586034 h 757168"/>
                <a:gd name="connsiteX96" fmla="*/ 11911344 w 12192000"/>
                <a:gd name="connsiteY96" fmla="*/ 521599 h 757168"/>
                <a:gd name="connsiteX97" fmla="*/ 11847823 w 12192000"/>
                <a:gd name="connsiteY97" fmla="*/ 511785 h 757168"/>
                <a:gd name="connsiteX98" fmla="*/ 11737547 w 12192000"/>
                <a:gd name="connsiteY98" fmla="*/ 502380 h 757168"/>
                <a:gd name="connsiteX99" fmla="*/ 11636052 w 12192000"/>
                <a:gd name="connsiteY99" fmla="*/ 514993 h 757168"/>
                <a:gd name="connsiteX100" fmla="*/ 11394706 w 12192000"/>
                <a:gd name="connsiteY100" fmla="*/ 590867 h 757168"/>
                <a:gd name="connsiteX101" fmla="*/ 11354978 w 12192000"/>
                <a:gd name="connsiteY101" fmla="*/ 597561 h 757168"/>
                <a:gd name="connsiteX102" fmla="*/ 11285306 w 12192000"/>
                <a:gd name="connsiteY102" fmla="*/ 599825 h 757168"/>
                <a:gd name="connsiteX103" fmla="*/ 11008528 w 12192000"/>
                <a:gd name="connsiteY103" fmla="*/ 656670 h 757168"/>
                <a:gd name="connsiteX104" fmla="*/ 10948735 w 12192000"/>
                <a:gd name="connsiteY104" fmla="*/ 652964 h 757168"/>
                <a:gd name="connsiteX105" fmla="*/ 10850698 w 12192000"/>
                <a:gd name="connsiteY105" fmla="*/ 641721 h 757168"/>
                <a:gd name="connsiteX106" fmla="*/ 10744026 w 12192000"/>
                <a:gd name="connsiteY106" fmla="*/ 647769 h 757168"/>
                <a:gd name="connsiteX107" fmla="*/ 10666160 w 12192000"/>
                <a:gd name="connsiteY107" fmla="*/ 651891 h 757168"/>
                <a:gd name="connsiteX108" fmla="*/ 10450521 w 12192000"/>
                <a:gd name="connsiteY108" fmla="*/ 616552 h 757168"/>
                <a:gd name="connsiteX109" fmla="*/ 10271192 w 12192000"/>
                <a:gd name="connsiteY109" fmla="*/ 583498 h 757168"/>
                <a:gd name="connsiteX110" fmla="*/ 10246067 w 12192000"/>
                <a:gd name="connsiteY110" fmla="*/ 585423 h 757168"/>
                <a:gd name="connsiteX111" fmla="*/ 10005027 w 12192000"/>
                <a:gd name="connsiteY111" fmla="*/ 592252 h 757168"/>
                <a:gd name="connsiteX112" fmla="*/ 9898681 w 12192000"/>
                <a:gd name="connsiteY112" fmla="*/ 613195 h 757168"/>
                <a:gd name="connsiteX113" fmla="*/ 9753225 w 12192000"/>
                <a:gd name="connsiteY113" fmla="*/ 629038 h 757168"/>
                <a:gd name="connsiteX114" fmla="*/ 9591376 w 12192000"/>
                <a:gd name="connsiteY114" fmla="*/ 648601 h 757168"/>
                <a:gd name="connsiteX115" fmla="*/ 9472860 w 12192000"/>
                <a:gd name="connsiteY115" fmla="*/ 655936 h 757168"/>
                <a:gd name="connsiteX116" fmla="*/ 9299788 w 12192000"/>
                <a:gd name="connsiteY116" fmla="*/ 636945 h 757168"/>
                <a:gd name="connsiteX117" fmla="*/ 9264605 w 12192000"/>
                <a:gd name="connsiteY117" fmla="*/ 627087 h 757168"/>
                <a:gd name="connsiteX118" fmla="*/ 8926435 w 12192000"/>
                <a:gd name="connsiteY118" fmla="*/ 549269 h 757168"/>
                <a:gd name="connsiteX119" fmla="*/ 8698934 w 12192000"/>
                <a:gd name="connsiteY119" fmla="*/ 536583 h 757168"/>
                <a:gd name="connsiteX120" fmla="*/ 8622862 w 12192000"/>
                <a:gd name="connsiteY120" fmla="*/ 541563 h 757168"/>
                <a:gd name="connsiteX121" fmla="*/ 8482784 w 12192000"/>
                <a:gd name="connsiteY121" fmla="*/ 574094 h 757168"/>
                <a:gd name="connsiteX122" fmla="*/ 8421565 w 12192000"/>
                <a:gd name="connsiteY122" fmla="*/ 576610 h 757168"/>
                <a:gd name="connsiteX123" fmla="*/ 8313469 w 12192000"/>
                <a:gd name="connsiteY123" fmla="*/ 574762 h 757168"/>
                <a:gd name="connsiteX124" fmla="*/ 8079520 w 12192000"/>
                <a:gd name="connsiteY124" fmla="*/ 558685 h 757168"/>
                <a:gd name="connsiteX125" fmla="*/ 7773327 w 12192000"/>
                <a:gd name="connsiteY125" fmla="*/ 558854 h 757168"/>
                <a:gd name="connsiteX126" fmla="*/ 7652477 w 12192000"/>
                <a:gd name="connsiteY126" fmla="*/ 547561 h 757168"/>
                <a:gd name="connsiteX127" fmla="*/ 7522274 w 12192000"/>
                <a:gd name="connsiteY127" fmla="*/ 532150 h 757168"/>
                <a:gd name="connsiteX128" fmla="*/ 7484080 w 12192000"/>
                <a:gd name="connsiteY128" fmla="*/ 530532 h 757168"/>
                <a:gd name="connsiteX129" fmla="*/ 7282277 w 12192000"/>
                <a:gd name="connsiteY129" fmla="*/ 540177 h 757168"/>
                <a:gd name="connsiteX130" fmla="*/ 7235690 w 12192000"/>
                <a:gd name="connsiteY130" fmla="*/ 551282 h 757168"/>
                <a:gd name="connsiteX131" fmla="*/ 7116339 w 12192000"/>
                <a:gd name="connsiteY131" fmla="*/ 539494 h 757168"/>
                <a:gd name="connsiteX132" fmla="*/ 7011067 w 12192000"/>
                <a:gd name="connsiteY132" fmla="*/ 511848 h 757168"/>
                <a:gd name="connsiteX133" fmla="*/ 6403234 w 12192000"/>
                <a:gd name="connsiteY133" fmla="*/ 432296 h 757168"/>
                <a:gd name="connsiteX134" fmla="*/ 6036273 w 12192000"/>
                <a:gd name="connsiteY134" fmla="*/ 412301 h 757168"/>
                <a:gd name="connsiteX135" fmla="*/ 5780467 w 12192000"/>
                <a:gd name="connsiteY135" fmla="*/ 377910 h 757168"/>
                <a:gd name="connsiteX136" fmla="*/ 5739051 w 12192000"/>
                <a:gd name="connsiteY136" fmla="*/ 353609 h 757168"/>
                <a:gd name="connsiteX137" fmla="*/ 5583566 w 12192000"/>
                <a:gd name="connsiteY137" fmla="*/ 321995 h 757168"/>
                <a:gd name="connsiteX138" fmla="*/ 5432030 w 12192000"/>
                <a:gd name="connsiteY138" fmla="*/ 362512 h 757168"/>
                <a:gd name="connsiteX139" fmla="*/ 5241398 w 12192000"/>
                <a:gd name="connsiteY139" fmla="*/ 425781 h 757168"/>
                <a:gd name="connsiteX140" fmla="*/ 5139710 w 12192000"/>
                <a:gd name="connsiteY140" fmla="*/ 421022 h 757168"/>
                <a:gd name="connsiteX141" fmla="*/ 4929402 w 12192000"/>
                <a:gd name="connsiteY141" fmla="*/ 424310 h 757168"/>
                <a:gd name="connsiteX142" fmla="*/ 4782793 w 12192000"/>
                <a:gd name="connsiteY142" fmla="*/ 441046 h 757168"/>
                <a:gd name="connsiteX143" fmla="*/ 4577594 w 12192000"/>
                <a:gd name="connsiteY143" fmla="*/ 459290 h 757168"/>
                <a:gd name="connsiteX144" fmla="*/ 4500826 w 12192000"/>
                <a:gd name="connsiteY144" fmla="*/ 470529 h 757168"/>
                <a:gd name="connsiteX145" fmla="*/ 4317973 w 12192000"/>
                <a:gd name="connsiteY145" fmla="*/ 483649 h 757168"/>
                <a:gd name="connsiteX146" fmla="*/ 4166722 w 12192000"/>
                <a:gd name="connsiteY146" fmla="*/ 490602 h 757168"/>
                <a:gd name="connsiteX147" fmla="*/ 4042814 w 12192000"/>
                <a:gd name="connsiteY147" fmla="*/ 530660 h 757168"/>
                <a:gd name="connsiteX148" fmla="*/ 4002653 w 12192000"/>
                <a:gd name="connsiteY148" fmla="*/ 552594 h 757168"/>
                <a:gd name="connsiteX149" fmla="*/ 3969549 w 12192000"/>
                <a:gd name="connsiteY149" fmla="*/ 566312 h 757168"/>
                <a:gd name="connsiteX150" fmla="*/ 3821685 w 12192000"/>
                <a:gd name="connsiteY150" fmla="*/ 649183 h 757168"/>
                <a:gd name="connsiteX151" fmla="*/ 3805138 w 12192000"/>
                <a:gd name="connsiteY151" fmla="*/ 655947 h 757168"/>
                <a:gd name="connsiteX152" fmla="*/ 3609177 w 12192000"/>
                <a:gd name="connsiteY152" fmla="*/ 687459 h 757168"/>
                <a:gd name="connsiteX153" fmla="*/ 3539727 w 12192000"/>
                <a:gd name="connsiteY153" fmla="*/ 706521 h 757168"/>
                <a:gd name="connsiteX154" fmla="*/ 3396572 w 12192000"/>
                <a:gd name="connsiteY154" fmla="*/ 755681 h 757168"/>
                <a:gd name="connsiteX155" fmla="*/ 3341054 w 12192000"/>
                <a:gd name="connsiteY155" fmla="*/ 754679 h 757168"/>
                <a:gd name="connsiteX156" fmla="*/ 3138775 w 12192000"/>
                <a:gd name="connsiteY156" fmla="*/ 710120 h 757168"/>
                <a:gd name="connsiteX157" fmla="*/ 3037283 w 12192000"/>
                <a:gd name="connsiteY157" fmla="*/ 666453 h 757168"/>
                <a:gd name="connsiteX158" fmla="*/ 3002117 w 12192000"/>
                <a:gd name="connsiteY158" fmla="*/ 649347 h 757168"/>
                <a:gd name="connsiteX159" fmla="*/ 2747294 w 12192000"/>
                <a:gd name="connsiteY159" fmla="*/ 652400 h 757168"/>
                <a:gd name="connsiteX160" fmla="*/ 2676273 w 12192000"/>
                <a:gd name="connsiteY160" fmla="*/ 652304 h 757168"/>
                <a:gd name="connsiteX161" fmla="*/ 2432360 w 12192000"/>
                <a:gd name="connsiteY161" fmla="*/ 657836 h 757168"/>
                <a:gd name="connsiteX162" fmla="*/ 2382311 w 12192000"/>
                <a:gd name="connsiteY162" fmla="*/ 650824 h 757168"/>
                <a:gd name="connsiteX163" fmla="*/ 2055134 w 12192000"/>
                <a:gd name="connsiteY163" fmla="*/ 630053 h 757168"/>
                <a:gd name="connsiteX164" fmla="*/ 2031829 w 12192000"/>
                <a:gd name="connsiteY164" fmla="*/ 639324 h 757168"/>
                <a:gd name="connsiteX165" fmla="*/ 1912764 w 12192000"/>
                <a:gd name="connsiteY165" fmla="*/ 664183 h 757168"/>
                <a:gd name="connsiteX166" fmla="*/ 1755637 w 12192000"/>
                <a:gd name="connsiteY166" fmla="*/ 663960 h 757168"/>
                <a:gd name="connsiteX167" fmla="*/ 1727159 w 12192000"/>
                <a:gd name="connsiteY167" fmla="*/ 659605 h 757168"/>
                <a:gd name="connsiteX168" fmla="*/ 1622470 w 12192000"/>
                <a:gd name="connsiteY168" fmla="*/ 634850 h 757168"/>
                <a:gd name="connsiteX169" fmla="*/ 1385955 w 12192000"/>
                <a:gd name="connsiteY169" fmla="*/ 604522 h 757168"/>
                <a:gd name="connsiteX170" fmla="*/ 1340055 w 12192000"/>
                <a:gd name="connsiteY170" fmla="*/ 595629 h 757168"/>
                <a:gd name="connsiteX171" fmla="*/ 1257271 w 12192000"/>
                <a:gd name="connsiteY171" fmla="*/ 581180 h 757168"/>
                <a:gd name="connsiteX172" fmla="*/ 1031914 w 12192000"/>
                <a:gd name="connsiteY172" fmla="*/ 562692 h 757168"/>
                <a:gd name="connsiteX173" fmla="*/ 922031 w 12192000"/>
                <a:gd name="connsiteY173" fmla="*/ 566853 h 757168"/>
                <a:gd name="connsiteX174" fmla="*/ 873250 w 12192000"/>
                <a:gd name="connsiteY174" fmla="*/ 563724 h 757168"/>
                <a:gd name="connsiteX175" fmla="*/ 711627 w 12192000"/>
                <a:gd name="connsiteY175" fmla="*/ 529880 h 757168"/>
                <a:gd name="connsiteX176" fmla="*/ 311112 w 12192000"/>
                <a:gd name="connsiteY176" fmla="*/ 525106 h 757168"/>
                <a:gd name="connsiteX177" fmla="*/ 184145 w 12192000"/>
                <a:gd name="connsiteY177" fmla="*/ 532188 h 757168"/>
                <a:gd name="connsiteX178" fmla="*/ 116886 w 12192000"/>
                <a:gd name="connsiteY178" fmla="*/ 530572 h 757168"/>
                <a:gd name="connsiteX179" fmla="*/ 23941 w 12192000"/>
                <a:gd name="connsiteY179" fmla="*/ 506433 h 757168"/>
                <a:gd name="connsiteX180" fmla="*/ 0 w 12192000"/>
                <a:gd name="connsiteY180" fmla="*/ 502149 h 75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192000" h="757168">
                  <a:moveTo>
                    <a:pt x="0" y="0"/>
                  </a:moveTo>
                  <a:lnTo>
                    <a:pt x="41653" y="6945"/>
                  </a:lnTo>
                  <a:cubicBezTo>
                    <a:pt x="55151" y="9178"/>
                    <a:pt x="68996" y="11810"/>
                    <a:pt x="81317" y="15509"/>
                  </a:cubicBezTo>
                  <a:cubicBezTo>
                    <a:pt x="92911" y="18978"/>
                    <a:pt x="102562" y="24446"/>
                    <a:pt x="114150" y="28105"/>
                  </a:cubicBezTo>
                  <a:cubicBezTo>
                    <a:pt x="145644" y="37958"/>
                    <a:pt x="177914" y="47281"/>
                    <a:pt x="214865" y="58374"/>
                  </a:cubicBezTo>
                  <a:cubicBezTo>
                    <a:pt x="236680" y="42349"/>
                    <a:pt x="264438" y="53534"/>
                    <a:pt x="299237" y="63560"/>
                  </a:cubicBezTo>
                  <a:cubicBezTo>
                    <a:pt x="334763" y="73816"/>
                    <a:pt x="376093" y="78654"/>
                    <a:pt x="415570" y="83774"/>
                  </a:cubicBezTo>
                  <a:cubicBezTo>
                    <a:pt x="487949" y="93100"/>
                    <a:pt x="560804" y="100354"/>
                    <a:pt x="633210" y="109108"/>
                  </a:cubicBezTo>
                  <a:cubicBezTo>
                    <a:pt x="648566" y="111058"/>
                    <a:pt x="666073" y="114072"/>
                    <a:pt x="677567" y="119446"/>
                  </a:cubicBezTo>
                  <a:cubicBezTo>
                    <a:pt x="756262" y="155621"/>
                    <a:pt x="853422" y="169678"/>
                    <a:pt x="946429" y="171502"/>
                  </a:cubicBezTo>
                  <a:cubicBezTo>
                    <a:pt x="1019582" y="173044"/>
                    <a:pt x="1091239" y="175083"/>
                    <a:pt x="1163367" y="182106"/>
                  </a:cubicBezTo>
                  <a:cubicBezTo>
                    <a:pt x="1168863" y="182586"/>
                    <a:pt x="1176224" y="182589"/>
                    <a:pt x="1180337" y="181279"/>
                  </a:cubicBezTo>
                  <a:cubicBezTo>
                    <a:pt x="1205822" y="172503"/>
                    <a:pt x="1231920" y="173109"/>
                    <a:pt x="1263939" y="173070"/>
                  </a:cubicBezTo>
                  <a:cubicBezTo>
                    <a:pt x="1309211" y="172961"/>
                    <a:pt x="1350592" y="176848"/>
                    <a:pt x="1392213" y="183225"/>
                  </a:cubicBezTo>
                  <a:cubicBezTo>
                    <a:pt x="1422516" y="187866"/>
                    <a:pt x="1453010" y="195759"/>
                    <a:pt x="1479752" y="205174"/>
                  </a:cubicBezTo>
                  <a:cubicBezTo>
                    <a:pt x="1516962" y="218381"/>
                    <a:pt x="1553071" y="224660"/>
                    <a:pt x="1589813" y="211706"/>
                  </a:cubicBezTo>
                  <a:cubicBezTo>
                    <a:pt x="1629541" y="197953"/>
                    <a:pt x="1673292" y="205778"/>
                    <a:pt x="1716264" y="207459"/>
                  </a:cubicBezTo>
                  <a:cubicBezTo>
                    <a:pt x="1734988" y="208248"/>
                    <a:pt x="1754789" y="209668"/>
                    <a:pt x="1772900" y="208137"/>
                  </a:cubicBezTo>
                  <a:cubicBezTo>
                    <a:pt x="1825381" y="203828"/>
                    <a:pt x="1876222" y="195808"/>
                    <a:pt x="1929319" y="193822"/>
                  </a:cubicBezTo>
                  <a:cubicBezTo>
                    <a:pt x="1958819" y="192698"/>
                    <a:pt x="1991232" y="199166"/>
                    <a:pt x="2021514" y="204186"/>
                  </a:cubicBezTo>
                  <a:cubicBezTo>
                    <a:pt x="2052154" y="209417"/>
                    <a:pt x="2082323" y="216530"/>
                    <a:pt x="2111753" y="223797"/>
                  </a:cubicBezTo>
                  <a:cubicBezTo>
                    <a:pt x="2131736" y="228659"/>
                    <a:pt x="2153567" y="233429"/>
                    <a:pt x="2169356" y="241125"/>
                  </a:cubicBezTo>
                  <a:cubicBezTo>
                    <a:pt x="2205243" y="258649"/>
                    <a:pt x="2242901" y="263295"/>
                    <a:pt x="2286638" y="257382"/>
                  </a:cubicBezTo>
                  <a:cubicBezTo>
                    <a:pt x="2293313" y="256396"/>
                    <a:pt x="2301018" y="256799"/>
                    <a:pt x="2308368" y="256995"/>
                  </a:cubicBezTo>
                  <a:cubicBezTo>
                    <a:pt x="2426026" y="259155"/>
                    <a:pt x="2543593" y="262834"/>
                    <a:pt x="2660621" y="262863"/>
                  </a:cubicBezTo>
                  <a:cubicBezTo>
                    <a:pt x="2708088" y="262871"/>
                    <a:pt x="2754165" y="254412"/>
                    <a:pt x="2801134" y="250006"/>
                  </a:cubicBezTo>
                  <a:cubicBezTo>
                    <a:pt x="2810748" y="249174"/>
                    <a:pt x="2821504" y="247638"/>
                    <a:pt x="2830994" y="249091"/>
                  </a:cubicBezTo>
                  <a:cubicBezTo>
                    <a:pt x="2934354" y="264045"/>
                    <a:pt x="3032340" y="255254"/>
                    <a:pt x="3129084" y="242009"/>
                  </a:cubicBezTo>
                  <a:cubicBezTo>
                    <a:pt x="3139090" y="240625"/>
                    <a:pt x="3151170" y="241831"/>
                    <a:pt x="3162162" y="242789"/>
                  </a:cubicBezTo>
                  <a:cubicBezTo>
                    <a:pt x="3192925" y="245736"/>
                    <a:pt x="3225969" y="254145"/>
                    <a:pt x="3254072" y="251612"/>
                  </a:cubicBezTo>
                  <a:cubicBezTo>
                    <a:pt x="3328782" y="244461"/>
                    <a:pt x="3402881" y="234992"/>
                    <a:pt x="3473491" y="221903"/>
                  </a:cubicBezTo>
                  <a:cubicBezTo>
                    <a:pt x="3545212" y="208683"/>
                    <a:pt x="3611651" y="197856"/>
                    <a:pt x="3691860" y="219228"/>
                  </a:cubicBezTo>
                  <a:cubicBezTo>
                    <a:pt x="3725977" y="228268"/>
                    <a:pt x="3771754" y="225515"/>
                    <a:pt x="3811494" y="225691"/>
                  </a:cubicBezTo>
                  <a:cubicBezTo>
                    <a:pt x="3840564" y="225687"/>
                    <a:pt x="3868906" y="218586"/>
                    <a:pt x="3897533" y="220087"/>
                  </a:cubicBezTo>
                  <a:cubicBezTo>
                    <a:pt x="3973874" y="224087"/>
                    <a:pt x="4042293" y="217563"/>
                    <a:pt x="4109430" y="200477"/>
                  </a:cubicBezTo>
                  <a:cubicBezTo>
                    <a:pt x="4135544" y="193834"/>
                    <a:pt x="4175268" y="201258"/>
                    <a:pt x="4208772" y="200914"/>
                  </a:cubicBezTo>
                  <a:cubicBezTo>
                    <a:pt x="4244136" y="200288"/>
                    <a:pt x="4280583" y="199908"/>
                    <a:pt x="4314641" y="196159"/>
                  </a:cubicBezTo>
                  <a:cubicBezTo>
                    <a:pt x="4402743" y="186278"/>
                    <a:pt x="4489848" y="174436"/>
                    <a:pt x="4577622" y="163774"/>
                  </a:cubicBezTo>
                  <a:cubicBezTo>
                    <a:pt x="4649843" y="154967"/>
                    <a:pt x="4719794" y="168553"/>
                    <a:pt x="4790345" y="177592"/>
                  </a:cubicBezTo>
                  <a:cubicBezTo>
                    <a:pt x="4834576" y="183345"/>
                    <a:pt x="4875614" y="193701"/>
                    <a:pt x="4926164" y="184139"/>
                  </a:cubicBezTo>
                  <a:cubicBezTo>
                    <a:pt x="4974485" y="175032"/>
                    <a:pt x="5034899" y="180870"/>
                    <a:pt x="5088812" y="177401"/>
                  </a:cubicBezTo>
                  <a:cubicBezTo>
                    <a:pt x="5134238" y="174439"/>
                    <a:pt x="5178353" y="168165"/>
                    <a:pt x="5222466" y="162082"/>
                  </a:cubicBezTo>
                  <a:cubicBezTo>
                    <a:pt x="5282519" y="153783"/>
                    <a:pt x="5341864" y="144876"/>
                    <a:pt x="5406528" y="153987"/>
                  </a:cubicBezTo>
                  <a:cubicBezTo>
                    <a:pt x="5479960" y="164323"/>
                    <a:pt x="5531876" y="142624"/>
                    <a:pt x="5590716" y="129490"/>
                  </a:cubicBezTo>
                  <a:cubicBezTo>
                    <a:pt x="5631296" y="120553"/>
                    <a:pt x="5675395" y="114659"/>
                    <a:pt x="5719429" y="110099"/>
                  </a:cubicBezTo>
                  <a:cubicBezTo>
                    <a:pt x="5778247" y="104215"/>
                    <a:pt x="5838715" y="102042"/>
                    <a:pt x="5897895" y="96368"/>
                  </a:cubicBezTo>
                  <a:cubicBezTo>
                    <a:pt x="5987399" y="87895"/>
                    <a:pt x="6077855" y="82333"/>
                    <a:pt x="6169957" y="94411"/>
                  </a:cubicBezTo>
                  <a:cubicBezTo>
                    <a:pt x="6212360" y="99875"/>
                    <a:pt x="6252010" y="101763"/>
                    <a:pt x="6294827" y="99236"/>
                  </a:cubicBezTo>
                  <a:cubicBezTo>
                    <a:pt x="6364965" y="95091"/>
                    <a:pt x="6436581" y="97891"/>
                    <a:pt x="6494261" y="71724"/>
                  </a:cubicBezTo>
                  <a:cubicBezTo>
                    <a:pt x="6514615" y="62488"/>
                    <a:pt x="6550354" y="61691"/>
                    <a:pt x="6579627" y="57883"/>
                  </a:cubicBezTo>
                  <a:cubicBezTo>
                    <a:pt x="6613354" y="53353"/>
                    <a:pt x="6637770" y="57878"/>
                    <a:pt x="6654800" y="77086"/>
                  </a:cubicBezTo>
                  <a:cubicBezTo>
                    <a:pt x="6662444" y="85688"/>
                    <a:pt x="6685147" y="94892"/>
                    <a:pt x="6703059" y="97166"/>
                  </a:cubicBezTo>
                  <a:cubicBezTo>
                    <a:pt x="6756799" y="103989"/>
                    <a:pt x="6806654" y="100687"/>
                    <a:pt x="6859445" y="90481"/>
                  </a:cubicBezTo>
                  <a:cubicBezTo>
                    <a:pt x="6908894" y="80861"/>
                    <a:pt x="6969747" y="85387"/>
                    <a:pt x="7025414" y="83536"/>
                  </a:cubicBezTo>
                  <a:cubicBezTo>
                    <a:pt x="7064862" y="82168"/>
                    <a:pt x="7104501" y="77186"/>
                    <a:pt x="7144137" y="79264"/>
                  </a:cubicBezTo>
                  <a:cubicBezTo>
                    <a:pt x="7193316" y="81841"/>
                    <a:pt x="7241809" y="90488"/>
                    <a:pt x="7291235" y="95367"/>
                  </a:cubicBezTo>
                  <a:cubicBezTo>
                    <a:pt x="7329668" y="99288"/>
                    <a:pt x="7368978" y="100585"/>
                    <a:pt x="7407395" y="104888"/>
                  </a:cubicBezTo>
                  <a:cubicBezTo>
                    <a:pt x="7438868" y="108256"/>
                    <a:pt x="7469832" y="114265"/>
                    <a:pt x="7500837" y="119515"/>
                  </a:cubicBezTo>
                  <a:cubicBezTo>
                    <a:pt x="7512146" y="121444"/>
                    <a:pt x="7523255" y="127178"/>
                    <a:pt x="7533567" y="126955"/>
                  </a:cubicBezTo>
                  <a:cubicBezTo>
                    <a:pt x="7636025" y="124121"/>
                    <a:pt x="7707510" y="164497"/>
                    <a:pt x="7792910" y="185188"/>
                  </a:cubicBezTo>
                  <a:cubicBezTo>
                    <a:pt x="7882663" y="207063"/>
                    <a:pt x="7969001" y="237914"/>
                    <a:pt x="8070699" y="235423"/>
                  </a:cubicBezTo>
                  <a:cubicBezTo>
                    <a:pt x="8132239" y="233879"/>
                    <a:pt x="8191903" y="225939"/>
                    <a:pt x="8253177" y="222473"/>
                  </a:cubicBezTo>
                  <a:cubicBezTo>
                    <a:pt x="8274949" y="221324"/>
                    <a:pt x="8299150" y="222976"/>
                    <a:pt x="8320683" y="226393"/>
                  </a:cubicBezTo>
                  <a:cubicBezTo>
                    <a:pt x="8424731" y="242340"/>
                    <a:pt x="8527777" y="249266"/>
                    <a:pt x="8631438" y="237528"/>
                  </a:cubicBezTo>
                  <a:cubicBezTo>
                    <a:pt x="8649201" y="235596"/>
                    <a:pt x="8668058" y="233915"/>
                    <a:pt x="8686410" y="234877"/>
                  </a:cubicBezTo>
                  <a:cubicBezTo>
                    <a:pt x="8786966" y="240146"/>
                    <a:pt x="8885480" y="249315"/>
                    <a:pt x="8980658" y="273001"/>
                  </a:cubicBezTo>
                  <a:cubicBezTo>
                    <a:pt x="9012626" y="280972"/>
                    <a:pt x="9052108" y="279035"/>
                    <a:pt x="9087625" y="282423"/>
                  </a:cubicBezTo>
                  <a:cubicBezTo>
                    <a:pt x="9120583" y="285484"/>
                    <a:pt x="9154319" y="287825"/>
                    <a:pt x="9186017" y="293875"/>
                  </a:cubicBezTo>
                  <a:cubicBezTo>
                    <a:pt x="9232288" y="302785"/>
                    <a:pt x="9275554" y="305815"/>
                    <a:pt x="9323931" y="302628"/>
                  </a:cubicBezTo>
                  <a:cubicBezTo>
                    <a:pt x="9370084" y="299705"/>
                    <a:pt x="9419491" y="304964"/>
                    <a:pt x="9467213" y="307275"/>
                  </a:cubicBezTo>
                  <a:cubicBezTo>
                    <a:pt x="9520438" y="309874"/>
                    <a:pt x="9573661" y="312473"/>
                    <a:pt x="9626826" y="316213"/>
                  </a:cubicBezTo>
                  <a:cubicBezTo>
                    <a:pt x="9648094" y="317708"/>
                    <a:pt x="9671915" y="326588"/>
                    <a:pt x="9689696" y="324467"/>
                  </a:cubicBezTo>
                  <a:cubicBezTo>
                    <a:pt x="9747117" y="317175"/>
                    <a:pt x="9803355" y="332523"/>
                    <a:pt x="9860526" y="329986"/>
                  </a:cubicBezTo>
                  <a:cubicBezTo>
                    <a:pt x="9888572" y="328594"/>
                    <a:pt x="9919723" y="338048"/>
                    <a:pt x="9949775" y="340386"/>
                  </a:cubicBezTo>
                  <a:cubicBezTo>
                    <a:pt x="9998886" y="344296"/>
                    <a:pt x="10048092" y="346302"/>
                    <a:pt x="10097252" y="349262"/>
                  </a:cubicBezTo>
                  <a:cubicBezTo>
                    <a:pt x="10113390" y="350297"/>
                    <a:pt x="10129133" y="351886"/>
                    <a:pt x="10145261" y="353113"/>
                  </a:cubicBezTo>
                  <a:cubicBezTo>
                    <a:pt x="10159555" y="354243"/>
                    <a:pt x="10174512" y="356743"/>
                    <a:pt x="10188159" y="356124"/>
                  </a:cubicBezTo>
                  <a:cubicBezTo>
                    <a:pt x="10237589" y="353944"/>
                    <a:pt x="10286441" y="348682"/>
                    <a:pt x="10336144" y="348235"/>
                  </a:cubicBezTo>
                  <a:cubicBezTo>
                    <a:pt x="10379222" y="347822"/>
                    <a:pt x="10423443" y="353764"/>
                    <a:pt x="10466847" y="354131"/>
                  </a:cubicBezTo>
                  <a:cubicBezTo>
                    <a:pt x="10543353" y="354898"/>
                    <a:pt x="10619988" y="353190"/>
                    <a:pt x="10696514" y="353575"/>
                  </a:cubicBezTo>
                  <a:cubicBezTo>
                    <a:pt x="10713071" y="353680"/>
                    <a:pt x="10730069" y="359342"/>
                    <a:pt x="10746932" y="360606"/>
                  </a:cubicBezTo>
                  <a:cubicBezTo>
                    <a:pt x="10799731" y="364326"/>
                    <a:pt x="10852569" y="367289"/>
                    <a:pt x="10905388" y="370627"/>
                  </a:cubicBezTo>
                  <a:cubicBezTo>
                    <a:pt x="10935470" y="372396"/>
                    <a:pt x="10965963" y="373421"/>
                    <a:pt x="10995602" y="376691"/>
                  </a:cubicBezTo>
                  <a:cubicBezTo>
                    <a:pt x="11034750" y="381032"/>
                    <a:pt x="11070168" y="386324"/>
                    <a:pt x="11107647" y="373405"/>
                  </a:cubicBezTo>
                  <a:cubicBezTo>
                    <a:pt x="11165372" y="353347"/>
                    <a:pt x="11236837" y="366060"/>
                    <a:pt x="11302440" y="364156"/>
                  </a:cubicBezTo>
                  <a:cubicBezTo>
                    <a:pt x="11319394" y="363708"/>
                    <a:pt x="11336655" y="364422"/>
                    <a:pt x="11353613" y="363785"/>
                  </a:cubicBezTo>
                  <a:cubicBezTo>
                    <a:pt x="11384961" y="362566"/>
                    <a:pt x="11415955" y="360947"/>
                    <a:pt x="11447323" y="359346"/>
                  </a:cubicBezTo>
                  <a:cubicBezTo>
                    <a:pt x="11452855" y="359066"/>
                    <a:pt x="11459104" y="359200"/>
                    <a:pt x="11464292" y="358519"/>
                  </a:cubicBezTo>
                  <a:cubicBezTo>
                    <a:pt x="11512058" y="353010"/>
                    <a:pt x="11559143" y="346321"/>
                    <a:pt x="11607560" y="342370"/>
                  </a:cubicBezTo>
                  <a:cubicBezTo>
                    <a:pt x="11631218" y="340368"/>
                    <a:pt x="11657295" y="341352"/>
                    <a:pt x="11681426" y="344335"/>
                  </a:cubicBezTo>
                  <a:cubicBezTo>
                    <a:pt x="11751997" y="352993"/>
                    <a:pt x="11821986" y="358760"/>
                    <a:pt x="11893565" y="355261"/>
                  </a:cubicBezTo>
                  <a:cubicBezTo>
                    <a:pt x="11921973" y="353889"/>
                    <a:pt x="11953288" y="360300"/>
                    <a:pt x="11983290" y="363588"/>
                  </a:cubicBezTo>
                  <a:lnTo>
                    <a:pt x="12192000" y="388018"/>
                  </a:lnTo>
                  <a:lnTo>
                    <a:pt x="12192000" y="577115"/>
                  </a:lnTo>
                  <a:lnTo>
                    <a:pt x="12157329" y="588862"/>
                  </a:lnTo>
                  <a:cubicBezTo>
                    <a:pt x="12118393" y="608572"/>
                    <a:pt x="12109715" y="605637"/>
                    <a:pt x="12066948" y="586034"/>
                  </a:cubicBezTo>
                  <a:cubicBezTo>
                    <a:pt x="12016991" y="563193"/>
                    <a:pt x="11965119" y="541779"/>
                    <a:pt x="11911344" y="521599"/>
                  </a:cubicBezTo>
                  <a:cubicBezTo>
                    <a:pt x="11894383" y="515178"/>
                    <a:pt x="11869417" y="514060"/>
                    <a:pt x="11847823" y="511785"/>
                  </a:cubicBezTo>
                  <a:cubicBezTo>
                    <a:pt x="11811233" y="507768"/>
                    <a:pt x="11773630" y="501982"/>
                    <a:pt x="11737547" y="502380"/>
                  </a:cubicBezTo>
                  <a:cubicBezTo>
                    <a:pt x="11702930" y="502855"/>
                    <a:pt x="11668388" y="508866"/>
                    <a:pt x="11636052" y="514993"/>
                  </a:cubicBezTo>
                  <a:cubicBezTo>
                    <a:pt x="11545722" y="532199"/>
                    <a:pt x="11462455" y="555118"/>
                    <a:pt x="11394706" y="590867"/>
                  </a:cubicBezTo>
                  <a:cubicBezTo>
                    <a:pt x="11385999" y="595562"/>
                    <a:pt x="11369016" y="596581"/>
                    <a:pt x="11354978" y="597561"/>
                  </a:cubicBezTo>
                  <a:cubicBezTo>
                    <a:pt x="11332076" y="599224"/>
                    <a:pt x="11308448" y="600655"/>
                    <a:pt x="11285306" y="599825"/>
                  </a:cubicBezTo>
                  <a:cubicBezTo>
                    <a:pt x="11172906" y="595841"/>
                    <a:pt x="11083430" y="617861"/>
                    <a:pt x="11008528" y="656670"/>
                  </a:cubicBezTo>
                  <a:cubicBezTo>
                    <a:pt x="10986971" y="667750"/>
                    <a:pt x="10970753" y="668236"/>
                    <a:pt x="10948735" y="652964"/>
                  </a:cubicBezTo>
                  <a:cubicBezTo>
                    <a:pt x="10923173" y="635218"/>
                    <a:pt x="10885031" y="639705"/>
                    <a:pt x="10850698" y="641721"/>
                  </a:cubicBezTo>
                  <a:cubicBezTo>
                    <a:pt x="10815269" y="643680"/>
                    <a:pt x="10779458" y="645811"/>
                    <a:pt x="10744026" y="647769"/>
                  </a:cubicBezTo>
                  <a:cubicBezTo>
                    <a:pt x="10717832" y="649066"/>
                    <a:pt x="10692021" y="650003"/>
                    <a:pt x="10666160" y="651891"/>
                  </a:cubicBezTo>
                  <a:cubicBezTo>
                    <a:pt x="10585627" y="657783"/>
                    <a:pt x="10513854" y="650969"/>
                    <a:pt x="10450521" y="616552"/>
                  </a:cubicBezTo>
                  <a:cubicBezTo>
                    <a:pt x="10402221" y="590175"/>
                    <a:pt x="10339099" y="579806"/>
                    <a:pt x="10271192" y="583498"/>
                  </a:cubicBezTo>
                  <a:cubicBezTo>
                    <a:pt x="10262701" y="584006"/>
                    <a:pt x="10251859" y="587254"/>
                    <a:pt x="10246067" y="585423"/>
                  </a:cubicBezTo>
                  <a:cubicBezTo>
                    <a:pt x="10158786" y="558528"/>
                    <a:pt x="10086634" y="594049"/>
                    <a:pt x="10005027" y="592252"/>
                  </a:cubicBezTo>
                  <a:cubicBezTo>
                    <a:pt x="9969004" y="591507"/>
                    <a:pt x="9931565" y="603664"/>
                    <a:pt x="9898681" y="613195"/>
                  </a:cubicBezTo>
                  <a:cubicBezTo>
                    <a:pt x="9853463" y="626281"/>
                    <a:pt x="9813049" y="639042"/>
                    <a:pt x="9753225" y="629038"/>
                  </a:cubicBezTo>
                  <a:cubicBezTo>
                    <a:pt x="9693404" y="618845"/>
                    <a:pt x="9637675" y="628898"/>
                    <a:pt x="9591376" y="648601"/>
                  </a:cubicBezTo>
                  <a:cubicBezTo>
                    <a:pt x="9556001" y="663537"/>
                    <a:pt x="9518120" y="663077"/>
                    <a:pt x="9472860" y="655936"/>
                  </a:cubicBezTo>
                  <a:cubicBezTo>
                    <a:pt x="9416283" y="647056"/>
                    <a:pt x="9357217" y="643578"/>
                    <a:pt x="9299788" y="636945"/>
                  </a:cubicBezTo>
                  <a:cubicBezTo>
                    <a:pt x="9287347" y="635531"/>
                    <a:pt x="9271710" y="632039"/>
                    <a:pt x="9264605" y="627087"/>
                  </a:cubicBezTo>
                  <a:cubicBezTo>
                    <a:pt x="9177661" y="565680"/>
                    <a:pt x="9051076" y="558473"/>
                    <a:pt x="8926435" y="549269"/>
                  </a:cubicBezTo>
                  <a:cubicBezTo>
                    <a:pt x="8850925" y="543595"/>
                    <a:pt x="8774954" y="539613"/>
                    <a:pt x="8698934" y="536583"/>
                  </a:cubicBezTo>
                  <a:cubicBezTo>
                    <a:pt x="8673232" y="535428"/>
                    <a:pt x="8645916" y="537050"/>
                    <a:pt x="8622862" y="541563"/>
                  </a:cubicBezTo>
                  <a:cubicBezTo>
                    <a:pt x="8574890" y="551069"/>
                    <a:pt x="8530403" y="564380"/>
                    <a:pt x="8482784" y="574094"/>
                  </a:cubicBezTo>
                  <a:cubicBezTo>
                    <a:pt x="8464923" y="577929"/>
                    <a:pt x="8442157" y="576927"/>
                    <a:pt x="8421565" y="576610"/>
                  </a:cubicBezTo>
                  <a:cubicBezTo>
                    <a:pt x="8385152" y="576229"/>
                    <a:pt x="8345023" y="569546"/>
                    <a:pt x="8313469" y="574762"/>
                  </a:cubicBezTo>
                  <a:cubicBezTo>
                    <a:pt x="8231431" y="588203"/>
                    <a:pt x="8155671" y="580227"/>
                    <a:pt x="8079520" y="558685"/>
                  </a:cubicBezTo>
                  <a:cubicBezTo>
                    <a:pt x="7972906" y="528487"/>
                    <a:pt x="7870782" y="525043"/>
                    <a:pt x="7773327" y="558854"/>
                  </a:cubicBezTo>
                  <a:cubicBezTo>
                    <a:pt x="7729470" y="574107"/>
                    <a:pt x="7688069" y="563543"/>
                    <a:pt x="7652477" y="547561"/>
                  </a:cubicBezTo>
                  <a:cubicBezTo>
                    <a:pt x="7611494" y="529005"/>
                    <a:pt x="7570974" y="522685"/>
                    <a:pt x="7522274" y="532150"/>
                  </a:cubicBezTo>
                  <a:cubicBezTo>
                    <a:pt x="7511488" y="534257"/>
                    <a:pt x="7496511" y="532136"/>
                    <a:pt x="7484080" y="530532"/>
                  </a:cubicBezTo>
                  <a:cubicBezTo>
                    <a:pt x="7413133" y="522044"/>
                    <a:pt x="7341987" y="510303"/>
                    <a:pt x="7282277" y="540177"/>
                  </a:cubicBezTo>
                  <a:cubicBezTo>
                    <a:pt x="7270558" y="546051"/>
                    <a:pt x="7251336" y="547713"/>
                    <a:pt x="7235690" y="551282"/>
                  </a:cubicBezTo>
                  <a:cubicBezTo>
                    <a:pt x="7170161" y="565782"/>
                    <a:pt x="7172820" y="564203"/>
                    <a:pt x="7116339" y="539494"/>
                  </a:cubicBezTo>
                  <a:cubicBezTo>
                    <a:pt x="7086841" y="526502"/>
                    <a:pt x="7045980" y="512724"/>
                    <a:pt x="7011067" y="511848"/>
                  </a:cubicBezTo>
                  <a:cubicBezTo>
                    <a:pt x="6800473" y="506533"/>
                    <a:pt x="6601893" y="468653"/>
                    <a:pt x="6403234" y="432296"/>
                  </a:cubicBezTo>
                  <a:cubicBezTo>
                    <a:pt x="6280760" y="409851"/>
                    <a:pt x="6160432" y="402592"/>
                    <a:pt x="6036273" y="412301"/>
                  </a:cubicBezTo>
                  <a:cubicBezTo>
                    <a:pt x="5946471" y="419425"/>
                    <a:pt x="5863077" y="395593"/>
                    <a:pt x="5780467" y="377910"/>
                  </a:cubicBezTo>
                  <a:cubicBezTo>
                    <a:pt x="5763357" y="374343"/>
                    <a:pt x="5747757" y="363033"/>
                    <a:pt x="5739051" y="353609"/>
                  </a:cubicBezTo>
                  <a:cubicBezTo>
                    <a:pt x="5707675" y="320294"/>
                    <a:pt x="5653252" y="312483"/>
                    <a:pt x="5583566" y="321995"/>
                  </a:cubicBezTo>
                  <a:cubicBezTo>
                    <a:pt x="5528347" y="329404"/>
                    <a:pt x="5477716" y="340486"/>
                    <a:pt x="5432030" y="362512"/>
                  </a:cubicBezTo>
                  <a:cubicBezTo>
                    <a:pt x="5378421" y="388318"/>
                    <a:pt x="5322767" y="418026"/>
                    <a:pt x="5241398" y="425781"/>
                  </a:cubicBezTo>
                  <a:cubicBezTo>
                    <a:pt x="5206262" y="429089"/>
                    <a:pt x="5176131" y="428273"/>
                    <a:pt x="5139710" y="421022"/>
                  </a:cubicBezTo>
                  <a:cubicBezTo>
                    <a:pt x="5069048" y="407018"/>
                    <a:pt x="4997864" y="396037"/>
                    <a:pt x="4929402" y="424310"/>
                  </a:cubicBezTo>
                  <a:cubicBezTo>
                    <a:pt x="4891785" y="439890"/>
                    <a:pt x="4841650" y="448519"/>
                    <a:pt x="4782793" y="441046"/>
                  </a:cubicBezTo>
                  <a:cubicBezTo>
                    <a:pt x="4709316" y="431663"/>
                    <a:pt x="4641426" y="442031"/>
                    <a:pt x="4577594" y="459290"/>
                  </a:cubicBezTo>
                  <a:cubicBezTo>
                    <a:pt x="4554816" y="465538"/>
                    <a:pt x="4527069" y="468279"/>
                    <a:pt x="4500826" y="470529"/>
                  </a:cubicBezTo>
                  <a:cubicBezTo>
                    <a:pt x="4440199" y="475746"/>
                    <a:pt x="4379252" y="479993"/>
                    <a:pt x="4317973" y="483649"/>
                  </a:cubicBezTo>
                  <a:cubicBezTo>
                    <a:pt x="4267762" y="486741"/>
                    <a:pt x="4217264" y="488292"/>
                    <a:pt x="4166722" y="490602"/>
                  </a:cubicBezTo>
                  <a:cubicBezTo>
                    <a:pt x="4111394" y="493045"/>
                    <a:pt x="4067073" y="503124"/>
                    <a:pt x="4042814" y="530660"/>
                  </a:cubicBezTo>
                  <a:cubicBezTo>
                    <a:pt x="4034996" y="539407"/>
                    <a:pt x="4017001" y="545715"/>
                    <a:pt x="4002653" y="552594"/>
                  </a:cubicBezTo>
                  <a:cubicBezTo>
                    <a:pt x="3992459" y="557592"/>
                    <a:pt x="3979023" y="561086"/>
                    <a:pt x="3969549" y="566312"/>
                  </a:cubicBezTo>
                  <a:cubicBezTo>
                    <a:pt x="3919896" y="593854"/>
                    <a:pt x="3870968" y="621622"/>
                    <a:pt x="3821685" y="649183"/>
                  </a:cubicBezTo>
                  <a:cubicBezTo>
                    <a:pt x="3816761" y="651788"/>
                    <a:pt x="3811445" y="654943"/>
                    <a:pt x="3805138" y="655947"/>
                  </a:cubicBezTo>
                  <a:cubicBezTo>
                    <a:pt x="3739817" y="666451"/>
                    <a:pt x="3673801" y="676154"/>
                    <a:pt x="3609177" y="687459"/>
                  </a:cubicBezTo>
                  <a:cubicBezTo>
                    <a:pt x="3584288" y="691878"/>
                    <a:pt x="3558597" y="697589"/>
                    <a:pt x="3539727" y="706521"/>
                  </a:cubicBezTo>
                  <a:cubicBezTo>
                    <a:pt x="3496714" y="726780"/>
                    <a:pt x="3457268" y="749132"/>
                    <a:pt x="3396572" y="755681"/>
                  </a:cubicBezTo>
                  <a:cubicBezTo>
                    <a:pt x="3378807" y="757611"/>
                    <a:pt x="3357809" y="758036"/>
                    <a:pt x="3341054" y="754679"/>
                  </a:cubicBezTo>
                  <a:cubicBezTo>
                    <a:pt x="3272962" y="740809"/>
                    <a:pt x="3206471" y="724541"/>
                    <a:pt x="3138775" y="710120"/>
                  </a:cubicBezTo>
                  <a:cubicBezTo>
                    <a:pt x="3095820" y="701191"/>
                    <a:pt x="3056969" y="691141"/>
                    <a:pt x="3037283" y="666453"/>
                  </a:cubicBezTo>
                  <a:cubicBezTo>
                    <a:pt x="3031764" y="659487"/>
                    <a:pt x="3015626" y="651391"/>
                    <a:pt x="3002117" y="649347"/>
                  </a:cubicBezTo>
                  <a:cubicBezTo>
                    <a:pt x="2915220" y="636209"/>
                    <a:pt x="2829194" y="627503"/>
                    <a:pt x="2747294" y="652400"/>
                  </a:cubicBezTo>
                  <a:cubicBezTo>
                    <a:pt x="2730084" y="657794"/>
                    <a:pt x="2698519" y="656140"/>
                    <a:pt x="2676273" y="652304"/>
                  </a:cubicBezTo>
                  <a:cubicBezTo>
                    <a:pt x="2590546" y="637890"/>
                    <a:pt x="2508883" y="630176"/>
                    <a:pt x="2432360" y="657836"/>
                  </a:cubicBezTo>
                  <a:cubicBezTo>
                    <a:pt x="2423352" y="661179"/>
                    <a:pt x="2395274" y="656272"/>
                    <a:pt x="2382311" y="650824"/>
                  </a:cubicBezTo>
                  <a:cubicBezTo>
                    <a:pt x="2257393" y="597728"/>
                    <a:pt x="2187724" y="592930"/>
                    <a:pt x="2055134" y="630053"/>
                  </a:cubicBezTo>
                  <a:cubicBezTo>
                    <a:pt x="2046542" y="632464"/>
                    <a:pt x="2035364" y="635121"/>
                    <a:pt x="2031829" y="639324"/>
                  </a:cubicBezTo>
                  <a:cubicBezTo>
                    <a:pt x="2007977" y="666120"/>
                    <a:pt x="1960229" y="664380"/>
                    <a:pt x="1912764" y="664183"/>
                  </a:cubicBezTo>
                  <a:cubicBezTo>
                    <a:pt x="1860521" y="663924"/>
                    <a:pt x="1808236" y="664426"/>
                    <a:pt x="1755637" y="663960"/>
                  </a:cubicBezTo>
                  <a:cubicBezTo>
                    <a:pt x="1746439" y="663859"/>
                    <a:pt x="1736243" y="661799"/>
                    <a:pt x="1727159" y="659605"/>
                  </a:cubicBezTo>
                  <a:cubicBezTo>
                    <a:pt x="1692256" y="651480"/>
                    <a:pt x="1658604" y="640559"/>
                    <a:pt x="1622470" y="634850"/>
                  </a:cubicBezTo>
                  <a:cubicBezTo>
                    <a:pt x="1544362" y="622552"/>
                    <a:pt x="1469248" y="602210"/>
                    <a:pt x="1385955" y="604522"/>
                  </a:cubicBezTo>
                  <a:cubicBezTo>
                    <a:pt x="1371585" y="604913"/>
                    <a:pt x="1355357" y="598530"/>
                    <a:pt x="1340055" y="595629"/>
                  </a:cubicBezTo>
                  <a:cubicBezTo>
                    <a:pt x="1312351" y="590552"/>
                    <a:pt x="1285460" y="583993"/>
                    <a:pt x="1257271" y="581180"/>
                  </a:cubicBezTo>
                  <a:cubicBezTo>
                    <a:pt x="1182583" y="573830"/>
                    <a:pt x="1107142" y="566824"/>
                    <a:pt x="1031914" y="562692"/>
                  </a:cubicBezTo>
                  <a:cubicBezTo>
                    <a:pt x="995593" y="560597"/>
                    <a:pt x="958880" y="565923"/>
                    <a:pt x="922031" y="566853"/>
                  </a:cubicBezTo>
                  <a:cubicBezTo>
                    <a:pt x="905446" y="567320"/>
                    <a:pt x="878533" y="568199"/>
                    <a:pt x="873250" y="563724"/>
                  </a:cubicBezTo>
                  <a:cubicBezTo>
                    <a:pt x="832343" y="529722"/>
                    <a:pt x="772202" y="532674"/>
                    <a:pt x="711627" y="529880"/>
                  </a:cubicBezTo>
                  <a:cubicBezTo>
                    <a:pt x="577999" y="523641"/>
                    <a:pt x="447408" y="543696"/>
                    <a:pt x="311112" y="525106"/>
                  </a:cubicBezTo>
                  <a:cubicBezTo>
                    <a:pt x="271645" y="519795"/>
                    <a:pt x="226936" y="530235"/>
                    <a:pt x="184145" y="532188"/>
                  </a:cubicBezTo>
                  <a:cubicBezTo>
                    <a:pt x="162015" y="533128"/>
                    <a:pt x="137665" y="534333"/>
                    <a:pt x="116886" y="530572"/>
                  </a:cubicBezTo>
                  <a:cubicBezTo>
                    <a:pt x="84810" y="524693"/>
                    <a:pt x="54011" y="515448"/>
                    <a:pt x="23941" y="506433"/>
                  </a:cubicBezTo>
                  <a:lnTo>
                    <a:pt x="0" y="502149"/>
                  </a:lnTo>
                  <a:close/>
                </a:path>
              </a:pathLst>
            </a:custGeom>
            <a:solidFill>
              <a:srgbClr val="FFFFFF"/>
            </a:solidFill>
            <a:ln w="12700" cap="flat" cmpd="sng" algn="ctr">
              <a:noFill/>
              <a:prstDash val="solid"/>
              <a:miter lim="800000"/>
            </a:ln>
            <a:effectLst>
              <a:outerShdw blurRad="381000" dist="152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Freeform: Shape 25">
              <a:extLst>
                <a:ext uri="{FF2B5EF4-FFF2-40B4-BE49-F238E27FC236}">
                  <a16:creationId xmlns:a16="http://schemas.microsoft.com/office/drawing/2014/main" id="{4EBC51E4-7477-4290-BBD0-18AD942C36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959818"/>
              <a:ext cx="12192000" cy="757168"/>
            </a:xfrm>
            <a:custGeom>
              <a:avLst/>
              <a:gdLst>
                <a:gd name="connsiteX0" fmla="*/ 0 w 12192000"/>
                <a:gd name="connsiteY0" fmla="*/ 0 h 757168"/>
                <a:gd name="connsiteX1" fmla="*/ 41653 w 12192000"/>
                <a:gd name="connsiteY1" fmla="*/ 6945 h 757168"/>
                <a:gd name="connsiteX2" fmla="*/ 81317 w 12192000"/>
                <a:gd name="connsiteY2" fmla="*/ 15509 h 757168"/>
                <a:gd name="connsiteX3" fmla="*/ 114150 w 12192000"/>
                <a:gd name="connsiteY3" fmla="*/ 28105 h 757168"/>
                <a:gd name="connsiteX4" fmla="*/ 214865 w 12192000"/>
                <a:gd name="connsiteY4" fmla="*/ 58374 h 757168"/>
                <a:gd name="connsiteX5" fmla="*/ 299237 w 12192000"/>
                <a:gd name="connsiteY5" fmla="*/ 63560 h 757168"/>
                <a:gd name="connsiteX6" fmla="*/ 415570 w 12192000"/>
                <a:gd name="connsiteY6" fmla="*/ 83774 h 757168"/>
                <a:gd name="connsiteX7" fmla="*/ 633210 w 12192000"/>
                <a:gd name="connsiteY7" fmla="*/ 109108 h 757168"/>
                <a:gd name="connsiteX8" fmla="*/ 677567 w 12192000"/>
                <a:gd name="connsiteY8" fmla="*/ 119446 h 757168"/>
                <a:gd name="connsiteX9" fmla="*/ 946429 w 12192000"/>
                <a:gd name="connsiteY9" fmla="*/ 171502 h 757168"/>
                <a:gd name="connsiteX10" fmla="*/ 1163367 w 12192000"/>
                <a:gd name="connsiteY10" fmla="*/ 182106 h 757168"/>
                <a:gd name="connsiteX11" fmla="*/ 1180337 w 12192000"/>
                <a:gd name="connsiteY11" fmla="*/ 181279 h 757168"/>
                <a:gd name="connsiteX12" fmla="*/ 1263939 w 12192000"/>
                <a:gd name="connsiteY12" fmla="*/ 173070 h 757168"/>
                <a:gd name="connsiteX13" fmla="*/ 1392213 w 12192000"/>
                <a:gd name="connsiteY13" fmla="*/ 183225 h 757168"/>
                <a:gd name="connsiteX14" fmla="*/ 1479752 w 12192000"/>
                <a:gd name="connsiteY14" fmla="*/ 205174 h 757168"/>
                <a:gd name="connsiteX15" fmla="*/ 1589813 w 12192000"/>
                <a:gd name="connsiteY15" fmla="*/ 211706 h 757168"/>
                <a:gd name="connsiteX16" fmla="*/ 1716264 w 12192000"/>
                <a:gd name="connsiteY16" fmla="*/ 207459 h 757168"/>
                <a:gd name="connsiteX17" fmla="*/ 1772900 w 12192000"/>
                <a:gd name="connsiteY17" fmla="*/ 208137 h 757168"/>
                <a:gd name="connsiteX18" fmla="*/ 1929319 w 12192000"/>
                <a:gd name="connsiteY18" fmla="*/ 193822 h 757168"/>
                <a:gd name="connsiteX19" fmla="*/ 2021514 w 12192000"/>
                <a:gd name="connsiteY19" fmla="*/ 204186 h 757168"/>
                <a:gd name="connsiteX20" fmla="*/ 2111753 w 12192000"/>
                <a:gd name="connsiteY20" fmla="*/ 223797 h 757168"/>
                <a:gd name="connsiteX21" fmla="*/ 2169356 w 12192000"/>
                <a:gd name="connsiteY21" fmla="*/ 241125 h 757168"/>
                <a:gd name="connsiteX22" fmla="*/ 2286638 w 12192000"/>
                <a:gd name="connsiteY22" fmla="*/ 257382 h 757168"/>
                <a:gd name="connsiteX23" fmla="*/ 2308368 w 12192000"/>
                <a:gd name="connsiteY23" fmla="*/ 256995 h 757168"/>
                <a:gd name="connsiteX24" fmla="*/ 2660621 w 12192000"/>
                <a:gd name="connsiteY24" fmla="*/ 262863 h 757168"/>
                <a:gd name="connsiteX25" fmla="*/ 2801134 w 12192000"/>
                <a:gd name="connsiteY25" fmla="*/ 250006 h 757168"/>
                <a:gd name="connsiteX26" fmla="*/ 2830994 w 12192000"/>
                <a:gd name="connsiteY26" fmla="*/ 249091 h 757168"/>
                <a:gd name="connsiteX27" fmla="*/ 3129084 w 12192000"/>
                <a:gd name="connsiteY27" fmla="*/ 242009 h 757168"/>
                <a:gd name="connsiteX28" fmla="*/ 3162162 w 12192000"/>
                <a:gd name="connsiteY28" fmla="*/ 242789 h 757168"/>
                <a:gd name="connsiteX29" fmla="*/ 3254072 w 12192000"/>
                <a:gd name="connsiteY29" fmla="*/ 251612 h 757168"/>
                <a:gd name="connsiteX30" fmla="*/ 3473491 w 12192000"/>
                <a:gd name="connsiteY30" fmla="*/ 221903 h 757168"/>
                <a:gd name="connsiteX31" fmla="*/ 3691860 w 12192000"/>
                <a:gd name="connsiteY31" fmla="*/ 219228 h 757168"/>
                <a:gd name="connsiteX32" fmla="*/ 3811494 w 12192000"/>
                <a:gd name="connsiteY32" fmla="*/ 225691 h 757168"/>
                <a:gd name="connsiteX33" fmla="*/ 3897533 w 12192000"/>
                <a:gd name="connsiteY33" fmla="*/ 220087 h 757168"/>
                <a:gd name="connsiteX34" fmla="*/ 4109430 w 12192000"/>
                <a:gd name="connsiteY34" fmla="*/ 200477 h 757168"/>
                <a:gd name="connsiteX35" fmla="*/ 4208772 w 12192000"/>
                <a:gd name="connsiteY35" fmla="*/ 200914 h 757168"/>
                <a:gd name="connsiteX36" fmla="*/ 4314641 w 12192000"/>
                <a:gd name="connsiteY36" fmla="*/ 196159 h 757168"/>
                <a:gd name="connsiteX37" fmla="*/ 4577622 w 12192000"/>
                <a:gd name="connsiteY37" fmla="*/ 163774 h 757168"/>
                <a:gd name="connsiteX38" fmla="*/ 4790345 w 12192000"/>
                <a:gd name="connsiteY38" fmla="*/ 177592 h 757168"/>
                <a:gd name="connsiteX39" fmla="*/ 4926164 w 12192000"/>
                <a:gd name="connsiteY39" fmla="*/ 184139 h 757168"/>
                <a:gd name="connsiteX40" fmla="*/ 5088812 w 12192000"/>
                <a:gd name="connsiteY40" fmla="*/ 177401 h 757168"/>
                <a:gd name="connsiteX41" fmla="*/ 5222466 w 12192000"/>
                <a:gd name="connsiteY41" fmla="*/ 162082 h 757168"/>
                <a:gd name="connsiteX42" fmla="*/ 5406528 w 12192000"/>
                <a:gd name="connsiteY42" fmla="*/ 153987 h 757168"/>
                <a:gd name="connsiteX43" fmla="*/ 5590716 w 12192000"/>
                <a:gd name="connsiteY43" fmla="*/ 129490 h 757168"/>
                <a:gd name="connsiteX44" fmla="*/ 5719429 w 12192000"/>
                <a:gd name="connsiteY44" fmla="*/ 110099 h 757168"/>
                <a:gd name="connsiteX45" fmla="*/ 5897895 w 12192000"/>
                <a:gd name="connsiteY45" fmla="*/ 96368 h 757168"/>
                <a:gd name="connsiteX46" fmla="*/ 6169957 w 12192000"/>
                <a:gd name="connsiteY46" fmla="*/ 94411 h 757168"/>
                <a:gd name="connsiteX47" fmla="*/ 6294827 w 12192000"/>
                <a:gd name="connsiteY47" fmla="*/ 99236 h 757168"/>
                <a:gd name="connsiteX48" fmla="*/ 6494261 w 12192000"/>
                <a:gd name="connsiteY48" fmla="*/ 71724 h 757168"/>
                <a:gd name="connsiteX49" fmla="*/ 6579627 w 12192000"/>
                <a:gd name="connsiteY49" fmla="*/ 57883 h 757168"/>
                <a:gd name="connsiteX50" fmla="*/ 6654800 w 12192000"/>
                <a:gd name="connsiteY50" fmla="*/ 77086 h 757168"/>
                <a:gd name="connsiteX51" fmla="*/ 6703059 w 12192000"/>
                <a:gd name="connsiteY51" fmla="*/ 97166 h 757168"/>
                <a:gd name="connsiteX52" fmla="*/ 6859445 w 12192000"/>
                <a:gd name="connsiteY52" fmla="*/ 90481 h 757168"/>
                <a:gd name="connsiteX53" fmla="*/ 7025414 w 12192000"/>
                <a:gd name="connsiteY53" fmla="*/ 83536 h 757168"/>
                <a:gd name="connsiteX54" fmla="*/ 7144137 w 12192000"/>
                <a:gd name="connsiteY54" fmla="*/ 79264 h 757168"/>
                <a:gd name="connsiteX55" fmla="*/ 7291235 w 12192000"/>
                <a:gd name="connsiteY55" fmla="*/ 95367 h 757168"/>
                <a:gd name="connsiteX56" fmla="*/ 7407395 w 12192000"/>
                <a:gd name="connsiteY56" fmla="*/ 104888 h 757168"/>
                <a:gd name="connsiteX57" fmla="*/ 7500837 w 12192000"/>
                <a:gd name="connsiteY57" fmla="*/ 119515 h 757168"/>
                <a:gd name="connsiteX58" fmla="*/ 7533567 w 12192000"/>
                <a:gd name="connsiteY58" fmla="*/ 126955 h 757168"/>
                <a:gd name="connsiteX59" fmla="*/ 7792910 w 12192000"/>
                <a:gd name="connsiteY59" fmla="*/ 185188 h 757168"/>
                <a:gd name="connsiteX60" fmla="*/ 8070699 w 12192000"/>
                <a:gd name="connsiteY60" fmla="*/ 235423 h 757168"/>
                <a:gd name="connsiteX61" fmla="*/ 8253177 w 12192000"/>
                <a:gd name="connsiteY61" fmla="*/ 222473 h 757168"/>
                <a:gd name="connsiteX62" fmla="*/ 8320683 w 12192000"/>
                <a:gd name="connsiteY62" fmla="*/ 226393 h 757168"/>
                <a:gd name="connsiteX63" fmla="*/ 8631438 w 12192000"/>
                <a:gd name="connsiteY63" fmla="*/ 237528 h 757168"/>
                <a:gd name="connsiteX64" fmla="*/ 8686410 w 12192000"/>
                <a:gd name="connsiteY64" fmla="*/ 234877 h 757168"/>
                <a:gd name="connsiteX65" fmla="*/ 8980658 w 12192000"/>
                <a:gd name="connsiteY65" fmla="*/ 273001 h 757168"/>
                <a:gd name="connsiteX66" fmla="*/ 9087625 w 12192000"/>
                <a:gd name="connsiteY66" fmla="*/ 282423 h 757168"/>
                <a:gd name="connsiteX67" fmla="*/ 9186017 w 12192000"/>
                <a:gd name="connsiteY67" fmla="*/ 293875 h 757168"/>
                <a:gd name="connsiteX68" fmla="*/ 9323931 w 12192000"/>
                <a:gd name="connsiteY68" fmla="*/ 302628 h 757168"/>
                <a:gd name="connsiteX69" fmla="*/ 9467213 w 12192000"/>
                <a:gd name="connsiteY69" fmla="*/ 307275 h 757168"/>
                <a:gd name="connsiteX70" fmla="*/ 9626826 w 12192000"/>
                <a:gd name="connsiteY70" fmla="*/ 316213 h 757168"/>
                <a:gd name="connsiteX71" fmla="*/ 9689696 w 12192000"/>
                <a:gd name="connsiteY71" fmla="*/ 324467 h 757168"/>
                <a:gd name="connsiteX72" fmla="*/ 9860526 w 12192000"/>
                <a:gd name="connsiteY72" fmla="*/ 329986 h 757168"/>
                <a:gd name="connsiteX73" fmla="*/ 9949775 w 12192000"/>
                <a:gd name="connsiteY73" fmla="*/ 340386 h 757168"/>
                <a:gd name="connsiteX74" fmla="*/ 10097252 w 12192000"/>
                <a:gd name="connsiteY74" fmla="*/ 349262 h 757168"/>
                <a:gd name="connsiteX75" fmla="*/ 10145261 w 12192000"/>
                <a:gd name="connsiteY75" fmla="*/ 353113 h 757168"/>
                <a:gd name="connsiteX76" fmla="*/ 10188159 w 12192000"/>
                <a:gd name="connsiteY76" fmla="*/ 356124 h 757168"/>
                <a:gd name="connsiteX77" fmla="*/ 10336144 w 12192000"/>
                <a:gd name="connsiteY77" fmla="*/ 348235 h 757168"/>
                <a:gd name="connsiteX78" fmla="*/ 10466847 w 12192000"/>
                <a:gd name="connsiteY78" fmla="*/ 354131 h 757168"/>
                <a:gd name="connsiteX79" fmla="*/ 10696514 w 12192000"/>
                <a:gd name="connsiteY79" fmla="*/ 353575 h 757168"/>
                <a:gd name="connsiteX80" fmla="*/ 10746932 w 12192000"/>
                <a:gd name="connsiteY80" fmla="*/ 360606 h 757168"/>
                <a:gd name="connsiteX81" fmla="*/ 10905388 w 12192000"/>
                <a:gd name="connsiteY81" fmla="*/ 370627 h 757168"/>
                <a:gd name="connsiteX82" fmla="*/ 10995602 w 12192000"/>
                <a:gd name="connsiteY82" fmla="*/ 376691 h 757168"/>
                <a:gd name="connsiteX83" fmla="*/ 11107647 w 12192000"/>
                <a:gd name="connsiteY83" fmla="*/ 373405 h 757168"/>
                <a:gd name="connsiteX84" fmla="*/ 11302440 w 12192000"/>
                <a:gd name="connsiteY84" fmla="*/ 364156 h 757168"/>
                <a:gd name="connsiteX85" fmla="*/ 11353613 w 12192000"/>
                <a:gd name="connsiteY85" fmla="*/ 363785 h 757168"/>
                <a:gd name="connsiteX86" fmla="*/ 11447323 w 12192000"/>
                <a:gd name="connsiteY86" fmla="*/ 359346 h 757168"/>
                <a:gd name="connsiteX87" fmla="*/ 11464292 w 12192000"/>
                <a:gd name="connsiteY87" fmla="*/ 358519 h 757168"/>
                <a:gd name="connsiteX88" fmla="*/ 11607560 w 12192000"/>
                <a:gd name="connsiteY88" fmla="*/ 342370 h 757168"/>
                <a:gd name="connsiteX89" fmla="*/ 11681426 w 12192000"/>
                <a:gd name="connsiteY89" fmla="*/ 344335 h 757168"/>
                <a:gd name="connsiteX90" fmla="*/ 11893565 w 12192000"/>
                <a:gd name="connsiteY90" fmla="*/ 355261 h 757168"/>
                <a:gd name="connsiteX91" fmla="*/ 11983290 w 12192000"/>
                <a:gd name="connsiteY91" fmla="*/ 363588 h 757168"/>
                <a:gd name="connsiteX92" fmla="*/ 12192000 w 12192000"/>
                <a:gd name="connsiteY92" fmla="*/ 388018 h 757168"/>
                <a:gd name="connsiteX93" fmla="*/ 12192000 w 12192000"/>
                <a:gd name="connsiteY93" fmla="*/ 577115 h 757168"/>
                <a:gd name="connsiteX94" fmla="*/ 12157329 w 12192000"/>
                <a:gd name="connsiteY94" fmla="*/ 588862 h 757168"/>
                <a:gd name="connsiteX95" fmla="*/ 12066948 w 12192000"/>
                <a:gd name="connsiteY95" fmla="*/ 586034 h 757168"/>
                <a:gd name="connsiteX96" fmla="*/ 11911344 w 12192000"/>
                <a:gd name="connsiteY96" fmla="*/ 521599 h 757168"/>
                <a:gd name="connsiteX97" fmla="*/ 11847823 w 12192000"/>
                <a:gd name="connsiteY97" fmla="*/ 511785 h 757168"/>
                <a:gd name="connsiteX98" fmla="*/ 11737547 w 12192000"/>
                <a:gd name="connsiteY98" fmla="*/ 502380 h 757168"/>
                <a:gd name="connsiteX99" fmla="*/ 11636052 w 12192000"/>
                <a:gd name="connsiteY99" fmla="*/ 514993 h 757168"/>
                <a:gd name="connsiteX100" fmla="*/ 11394706 w 12192000"/>
                <a:gd name="connsiteY100" fmla="*/ 590867 h 757168"/>
                <a:gd name="connsiteX101" fmla="*/ 11354978 w 12192000"/>
                <a:gd name="connsiteY101" fmla="*/ 597561 h 757168"/>
                <a:gd name="connsiteX102" fmla="*/ 11285306 w 12192000"/>
                <a:gd name="connsiteY102" fmla="*/ 599825 h 757168"/>
                <a:gd name="connsiteX103" fmla="*/ 11008528 w 12192000"/>
                <a:gd name="connsiteY103" fmla="*/ 656670 h 757168"/>
                <a:gd name="connsiteX104" fmla="*/ 10948735 w 12192000"/>
                <a:gd name="connsiteY104" fmla="*/ 652964 h 757168"/>
                <a:gd name="connsiteX105" fmla="*/ 10850698 w 12192000"/>
                <a:gd name="connsiteY105" fmla="*/ 641721 h 757168"/>
                <a:gd name="connsiteX106" fmla="*/ 10744026 w 12192000"/>
                <a:gd name="connsiteY106" fmla="*/ 647769 h 757168"/>
                <a:gd name="connsiteX107" fmla="*/ 10666160 w 12192000"/>
                <a:gd name="connsiteY107" fmla="*/ 651891 h 757168"/>
                <a:gd name="connsiteX108" fmla="*/ 10450521 w 12192000"/>
                <a:gd name="connsiteY108" fmla="*/ 616552 h 757168"/>
                <a:gd name="connsiteX109" fmla="*/ 10271192 w 12192000"/>
                <a:gd name="connsiteY109" fmla="*/ 583498 h 757168"/>
                <a:gd name="connsiteX110" fmla="*/ 10246067 w 12192000"/>
                <a:gd name="connsiteY110" fmla="*/ 585423 h 757168"/>
                <a:gd name="connsiteX111" fmla="*/ 10005027 w 12192000"/>
                <a:gd name="connsiteY111" fmla="*/ 592252 h 757168"/>
                <a:gd name="connsiteX112" fmla="*/ 9898681 w 12192000"/>
                <a:gd name="connsiteY112" fmla="*/ 613195 h 757168"/>
                <a:gd name="connsiteX113" fmla="*/ 9753225 w 12192000"/>
                <a:gd name="connsiteY113" fmla="*/ 629038 h 757168"/>
                <a:gd name="connsiteX114" fmla="*/ 9591376 w 12192000"/>
                <a:gd name="connsiteY114" fmla="*/ 648601 h 757168"/>
                <a:gd name="connsiteX115" fmla="*/ 9472860 w 12192000"/>
                <a:gd name="connsiteY115" fmla="*/ 655936 h 757168"/>
                <a:gd name="connsiteX116" fmla="*/ 9299788 w 12192000"/>
                <a:gd name="connsiteY116" fmla="*/ 636945 h 757168"/>
                <a:gd name="connsiteX117" fmla="*/ 9264605 w 12192000"/>
                <a:gd name="connsiteY117" fmla="*/ 627087 h 757168"/>
                <a:gd name="connsiteX118" fmla="*/ 8926435 w 12192000"/>
                <a:gd name="connsiteY118" fmla="*/ 549269 h 757168"/>
                <a:gd name="connsiteX119" fmla="*/ 8698934 w 12192000"/>
                <a:gd name="connsiteY119" fmla="*/ 536583 h 757168"/>
                <a:gd name="connsiteX120" fmla="*/ 8622862 w 12192000"/>
                <a:gd name="connsiteY120" fmla="*/ 541563 h 757168"/>
                <a:gd name="connsiteX121" fmla="*/ 8482784 w 12192000"/>
                <a:gd name="connsiteY121" fmla="*/ 574094 h 757168"/>
                <a:gd name="connsiteX122" fmla="*/ 8421565 w 12192000"/>
                <a:gd name="connsiteY122" fmla="*/ 576610 h 757168"/>
                <a:gd name="connsiteX123" fmla="*/ 8313469 w 12192000"/>
                <a:gd name="connsiteY123" fmla="*/ 574762 h 757168"/>
                <a:gd name="connsiteX124" fmla="*/ 8079520 w 12192000"/>
                <a:gd name="connsiteY124" fmla="*/ 558685 h 757168"/>
                <a:gd name="connsiteX125" fmla="*/ 7773327 w 12192000"/>
                <a:gd name="connsiteY125" fmla="*/ 558854 h 757168"/>
                <a:gd name="connsiteX126" fmla="*/ 7652477 w 12192000"/>
                <a:gd name="connsiteY126" fmla="*/ 547561 h 757168"/>
                <a:gd name="connsiteX127" fmla="*/ 7522274 w 12192000"/>
                <a:gd name="connsiteY127" fmla="*/ 532150 h 757168"/>
                <a:gd name="connsiteX128" fmla="*/ 7484080 w 12192000"/>
                <a:gd name="connsiteY128" fmla="*/ 530532 h 757168"/>
                <a:gd name="connsiteX129" fmla="*/ 7282277 w 12192000"/>
                <a:gd name="connsiteY129" fmla="*/ 540177 h 757168"/>
                <a:gd name="connsiteX130" fmla="*/ 7235690 w 12192000"/>
                <a:gd name="connsiteY130" fmla="*/ 551282 h 757168"/>
                <a:gd name="connsiteX131" fmla="*/ 7116339 w 12192000"/>
                <a:gd name="connsiteY131" fmla="*/ 539494 h 757168"/>
                <a:gd name="connsiteX132" fmla="*/ 7011067 w 12192000"/>
                <a:gd name="connsiteY132" fmla="*/ 511848 h 757168"/>
                <a:gd name="connsiteX133" fmla="*/ 6403234 w 12192000"/>
                <a:gd name="connsiteY133" fmla="*/ 432296 h 757168"/>
                <a:gd name="connsiteX134" fmla="*/ 6036273 w 12192000"/>
                <a:gd name="connsiteY134" fmla="*/ 412301 h 757168"/>
                <a:gd name="connsiteX135" fmla="*/ 5780467 w 12192000"/>
                <a:gd name="connsiteY135" fmla="*/ 377910 h 757168"/>
                <a:gd name="connsiteX136" fmla="*/ 5739051 w 12192000"/>
                <a:gd name="connsiteY136" fmla="*/ 353609 h 757168"/>
                <a:gd name="connsiteX137" fmla="*/ 5583566 w 12192000"/>
                <a:gd name="connsiteY137" fmla="*/ 321995 h 757168"/>
                <a:gd name="connsiteX138" fmla="*/ 5432030 w 12192000"/>
                <a:gd name="connsiteY138" fmla="*/ 362512 h 757168"/>
                <a:gd name="connsiteX139" fmla="*/ 5241398 w 12192000"/>
                <a:gd name="connsiteY139" fmla="*/ 425781 h 757168"/>
                <a:gd name="connsiteX140" fmla="*/ 5139710 w 12192000"/>
                <a:gd name="connsiteY140" fmla="*/ 421022 h 757168"/>
                <a:gd name="connsiteX141" fmla="*/ 4929402 w 12192000"/>
                <a:gd name="connsiteY141" fmla="*/ 424310 h 757168"/>
                <a:gd name="connsiteX142" fmla="*/ 4782793 w 12192000"/>
                <a:gd name="connsiteY142" fmla="*/ 441046 h 757168"/>
                <a:gd name="connsiteX143" fmla="*/ 4577594 w 12192000"/>
                <a:gd name="connsiteY143" fmla="*/ 459290 h 757168"/>
                <a:gd name="connsiteX144" fmla="*/ 4500826 w 12192000"/>
                <a:gd name="connsiteY144" fmla="*/ 470529 h 757168"/>
                <a:gd name="connsiteX145" fmla="*/ 4317973 w 12192000"/>
                <a:gd name="connsiteY145" fmla="*/ 483649 h 757168"/>
                <a:gd name="connsiteX146" fmla="*/ 4166722 w 12192000"/>
                <a:gd name="connsiteY146" fmla="*/ 490602 h 757168"/>
                <a:gd name="connsiteX147" fmla="*/ 4042814 w 12192000"/>
                <a:gd name="connsiteY147" fmla="*/ 530660 h 757168"/>
                <a:gd name="connsiteX148" fmla="*/ 4002653 w 12192000"/>
                <a:gd name="connsiteY148" fmla="*/ 552594 h 757168"/>
                <a:gd name="connsiteX149" fmla="*/ 3969549 w 12192000"/>
                <a:gd name="connsiteY149" fmla="*/ 566312 h 757168"/>
                <a:gd name="connsiteX150" fmla="*/ 3821685 w 12192000"/>
                <a:gd name="connsiteY150" fmla="*/ 649183 h 757168"/>
                <a:gd name="connsiteX151" fmla="*/ 3805138 w 12192000"/>
                <a:gd name="connsiteY151" fmla="*/ 655947 h 757168"/>
                <a:gd name="connsiteX152" fmla="*/ 3609177 w 12192000"/>
                <a:gd name="connsiteY152" fmla="*/ 687459 h 757168"/>
                <a:gd name="connsiteX153" fmla="*/ 3539727 w 12192000"/>
                <a:gd name="connsiteY153" fmla="*/ 706521 h 757168"/>
                <a:gd name="connsiteX154" fmla="*/ 3396572 w 12192000"/>
                <a:gd name="connsiteY154" fmla="*/ 755681 h 757168"/>
                <a:gd name="connsiteX155" fmla="*/ 3341054 w 12192000"/>
                <a:gd name="connsiteY155" fmla="*/ 754679 h 757168"/>
                <a:gd name="connsiteX156" fmla="*/ 3138775 w 12192000"/>
                <a:gd name="connsiteY156" fmla="*/ 710120 h 757168"/>
                <a:gd name="connsiteX157" fmla="*/ 3037283 w 12192000"/>
                <a:gd name="connsiteY157" fmla="*/ 666453 h 757168"/>
                <a:gd name="connsiteX158" fmla="*/ 3002117 w 12192000"/>
                <a:gd name="connsiteY158" fmla="*/ 649347 h 757168"/>
                <a:gd name="connsiteX159" fmla="*/ 2747294 w 12192000"/>
                <a:gd name="connsiteY159" fmla="*/ 652400 h 757168"/>
                <a:gd name="connsiteX160" fmla="*/ 2676273 w 12192000"/>
                <a:gd name="connsiteY160" fmla="*/ 652304 h 757168"/>
                <a:gd name="connsiteX161" fmla="*/ 2432360 w 12192000"/>
                <a:gd name="connsiteY161" fmla="*/ 657836 h 757168"/>
                <a:gd name="connsiteX162" fmla="*/ 2382311 w 12192000"/>
                <a:gd name="connsiteY162" fmla="*/ 650824 h 757168"/>
                <a:gd name="connsiteX163" fmla="*/ 2055134 w 12192000"/>
                <a:gd name="connsiteY163" fmla="*/ 630053 h 757168"/>
                <a:gd name="connsiteX164" fmla="*/ 2031829 w 12192000"/>
                <a:gd name="connsiteY164" fmla="*/ 639324 h 757168"/>
                <a:gd name="connsiteX165" fmla="*/ 1912764 w 12192000"/>
                <a:gd name="connsiteY165" fmla="*/ 664183 h 757168"/>
                <a:gd name="connsiteX166" fmla="*/ 1755637 w 12192000"/>
                <a:gd name="connsiteY166" fmla="*/ 663960 h 757168"/>
                <a:gd name="connsiteX167" fmla="*/ 1727159 w 12192000"/>
                <a:gd name="connsiteY167" fmla="*/ 659605 h 757168"/>
                <a:gd name="connsiteX168" fmla="*/ 1622470 w 12192000"/>
                <a:gd name="connsiteY168" fmla="*/ 634850 h 757168"/>
                <a:gd name="connsiteX169" fmla="*/ 1385955 w 12192000"/>
                <a:gd name="connsiteY169" fmla="*/ 604522 h 757168"/>
                <a:gd name="connsiteX170" fmla="*/ 1340055 w 12192000"/>
                <a:gd name="connsiteY170" fmla="*/ 595629 h 757168"/>
                <a:gd name="connsiteX171" fmla="*/ 1257271 w 12192000"/>
                <a:gd name="connsiteY171" fmla="*/ 581180 h 757168"/>
                <a:gd name="connsiteX172" fmla="*/ 1031914 w 12192000"/>
                <a:gd name="connsiteY172" fmla="*/ 562692 h 757168"/>
                <a:gd name="connsiteX173" fmla="*/ 922031 w 12192000"/>
                <a:gd name="connsiteY173" fmla="*/ 566853 h 757168"/>
                <a:gd name="connsiteX174" fmla="*/ 873250 w 12192000"/>
                <a:gd name="connsiteY174" fmla="*/ 563724 h 757168"/>
                <a:gd name="connsiteX175" fmla="*/ 711627 w 12192000"/>
                <a:gd name="connsiteY175" fmla="*/ 529880 h 757168"/>
                <a:gd name="connsiteX176" fmla="*/ 311112 w 12192000"/>
                <a:gd name="connsiteY176" fmla="*/ 525106 h 757168"/>
                <a:gd name="connsiteX177" fmla="*/ 184145 w 12192000"/>
                <a:gd name="connsiteY177" fmla="*/ 532188 h 757168"/>
                <a:gd name="connsiteX178" fmla="*/ 116886 w 12192000"/>
                <a:gd name="connsiteY178" fmla="*/ 530572 h 757168"/>
                <a:gd name="connsiteX179" fmla="*/ 23941 w 12192000"/>
                <a:gd name="connsiteY179" fmla="*/ 506433 h 757168"/>
                <a:gd name="connsiteX180" fmla="*/ 0 w 12192000"/>
                <a:gd name="connsiteY180" fmla="*/ 502149 h 75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192000" h="757168">
                  <a:moveTo>
                    <a:pt x="0" y="0"/>
                  </a:moveTo>
                  <a:lnTo>
                    <a:pt x="41653" y="6945"/>
                  </a:lnTo>
                  <a:cubicBezTo>
                    <a:pt x="55151" y="9178"/>
                    <a:pt x="68996" y="11810"/>
                    <a:pt x="81317" y="15509"/>
                  </a:cubicBezTo>
                  <a:cubicBezTo>
                    <a:pt x="92911" y="18978"/>
                    <a:pt x="102562" y="24446"/>
                    <a:pt x="114150" y="28105"/>
                  </a:cubicBezTo>
                  <a:cubicBezTo>
                    <a:pt x="145644" y="37958"/>
                    <a:pt x="177914" y="47281"/>
                    <a:pt x="214865" y="58374"/>
                  </a:cubicBezTo>
                  <a:cubicBezTo>
                    <a:pt x="236680" y="42349"/>
                    <a:pt x="264438" y="53534"/>
                    <a:pt x="299237" y="63560"/>
                  </a:cubicBezTo>
                  <a:cubicBezTo>
                    <a:pt x="334763" y="73816"/>
                    <a:pt x="376093" y="78654"/>
                    <a:pt x="415570" y="83774"/>
                  </a:cubicBezTo>
                  <a:cubicBezTo>
                    <a:pt x="487949" y="93100"/>
                    <a:pt x="560804" y="100354"/>
                    <a:pt x="633210" y="109108"/>
                  </a:cubicBezTo>
                  <a:cubicBezTo>
                    <a:pt x="648566" y="111058"/>
                    <a:pt x="666073" y="114072"/>
                    <a:pt x="677567" y="119446"/>
                  </a:cubicBezTo>
                  <a:cubicBezTo>
                    <a:pt x="756262" y="155621"/>
                    <a:pt x="853422" y="169678"/>
                    <a:pt x="946429" y="171502"/>
                  </a:cubicBezTo>
                  <a:cubicBezTo>
                    <a:pt x="1019582" y="173044"/>
                    <a:pt x="1091239" y="175083"/>
                    <a:pt x="1163367" y="182106"/>
                  </a:cubicBezTo>
                  <a:cubicBezTo>
                    <a:pt x="1168863" y="182586"/>
                    <a:pt x="1176224" y="182589"/>
                    <a:pt x="1180337" y="181279"/>
                  </a:cubicBezTo>
                  <a:cubicBezTo>
                    <a:pt x="1205822" y="172503"/>
                    <a:pt x="1231920" y="173109"/>
                    <a:pt x="1263939" y="173070"/>
                  </a:cubicBezTo>
                  <a:cubicBezTo>
                    <a:pt x="1309211" y="172961"/>
                    <a:pt x="1350592" y="176848"/>
                    <a:pt x="1392213" y="183225"/>
                  </a:cubicBezTo>
                  <a:cubicBezTo>
                    <a:pt x="1422516" y="187866"/>
                    <a:pt x="1453010" y="195759"/>
                    <a:pt x="1479752" y="205174"/>
                  </a:cubicBezTo>
                  <a:cubicBezTo>
                    <a:pt x="1516962" y="218381"/>
                    <a:pt x="1553071" y="224660"/>
                    <a:pt x="1589813" y="211706"/>
                  </a:cubicBezTo>
                  <a:cubicBezTo>
                    <a:pt x="1629541" y="197953"/>
                    <a:pt x="1673292" y="205778"/>
                    <a:pt x="1716264" y="207459"/>
                  </a:cubicBezTo>
                  <a:cubicBezTo>
                    <a:pt x="1734988" y="208248"/>
                    <a:pt x="1754789" y="209668"/>
                    <a:pt x="1772900" y="208137"/>
                  </a:cubicBezTo>
                  <a:cubicBezTo>
                    <a:pt x="1825381" y="203828"/>
                    <a:pt x="1876222" y="195808"/>
                    <a:pt x="1929319" y="193822"/>
                  </a:cubicBezTo>
                  <a:cubicBezTo>
                    <a:pt x="1958819" y="192698"/>
                    <a:pt x="1991232" y="199166"/>
                    <a:pt x="2021514" y="204186"/>
                  </a:cubicBezTo>
                  <a:cubicBezTo>
                    <a:pt x="2052154" y="209417"/>
                    <a:pt x="2082323" y="216530"/>
                    <a:pt x="2111753" y="223797"/>
                  </a:cubicBezTo>
                  <a:cubicBezTo>
                    <a:pt x="2131736" y="228659"/>
                    <a:pt x="2153567" y="233429"/>
                    <a:pt x="2169356" y="241125"/>
                  </a:cubicBezTo>
                  <a:cubicBezTo>
                    <a:pt x="2205243" y="258649"/>
                    <a:pt x="2242901" y="263295"/>
                    <a:pt x="2286638" y="257382"/>
                  </a:cubicBezTo>
                  <a:cubicBezTo>
                    <a:pt x="2293313" y="256396"/>
                    <a:pt x="2301018" y="256799"/>
                    <a:pt x="2308368" y="256995"/>
                  </a:cubicBezTo>
                  <a:cubicBezTo>
                    <a:pt x="2426026" y="259155"/>
                    <a:pt x="2543593" y="262834"/>
                    <a:pt x="2660621" y="262863"/>
                  </a:cubicBezTo>
                  <a:cubicBezTo>
                    <a:pt x="2708088" y="262871"/>
                    <a:pt x="2754165" y="254412"/>
                    <a:pt x="2801134" y="250006"/>
                  </a:cubicBezTo>
                  <a:cubicBezTo>
                    <a:pt x="2810748" y="249174"/>
                    <a:pt x="2821504" y="247638"/>
                    <a:pt x="2830994" y="249091"/>
                  </a:cubicBezTo>
                  <a:cubicBezTo>
                    <a:pt x="2934354" y="264045"/>
                    <a:pt x="3032340" y="255254"/>
                    <a:pt x="3129084" y="242009"/>
                  </a:cubicBezTo>
                  <a:cubicBezTo>
                    <a:pt x="3139090" y="240625"/>
                    <a:pt x="3151170" y="241831"/>
                    <a:pt x="3162162" y="242789"/>
                  </a:cubicBezTo>
                  <a:cubicBezTo>
                    <a:pt x="3192925" y="245736"/>
                    <a:pt x="3225969" y="254145"/>
                    <a:pt x="3254072" y="251612"/>
                  </a:cubicBezTo>
                  <a:cubicBezTo>
                    <a:pt x="3328782" y="244461"/>
                    <a:pt x="3402881" y="234992"/>
                    <a:pt x="3473491" y="221903"/>
                  </a:cubicBezTo>
                  <a:cubicBezTo>
                    <a:pt x="3545212" y="208683"/>
                    <a:pt x="3611651" y="197856"/>
                    <a:pt x="3691860" y="219228"/>
                  </a:cubicBezTo>
                  <a:cubicBezTo>
                    <a:pt x="3725977" y="228268"/>
                    <a:pt x="3771754" y="225515"/>
                    <a:pt x="3811494" y="225691"/>
                  </a:cubicBezTo>
                  <a:cubicBezTo>
                    <a:pt x="3840564" y="225687"/>
                    <a:pt x="3868906" y="218586"/>
                    <a:pt x="3897533" y="220087"/>
                  </a:cubicBezTo>
                  <a:cubicBezTo>
                    <a:pt x="3973874" y="224087"/>
                    <a:pt x="4042293" y="217563"/>
                    <a:pt x="4109430" y="200477"/>
                  </a:cubicBezTo>
                  <a:cubicBezTo>
                    <a:pt x="4135544" y="193834"/>
                    <a:pt x="4175268" y="201258"/>
                    <a:pt x="4208772" y="200914"/>
                  </a:cubicBezTo>
                  <a:cubicBezTo>
                    <a:pt x="4244136" y="200288"/>
                    <a:pt x="4280583" y="199908"/>
                    <a:pt x="4314641" y="196159"/>
                  </a:cubicBezTo>
                  <a:cubicBezTo>
                    <a:pt x="4402743" y="186278"/>
                    <a:pt x="4489848" y="174436"/>
                    <a:pt x="4577622" y="163774"/>
                  </a:cubicBezTo>
                  <a:cubicBezTo>
                    <a:pt x="4649843" y="154967"/>
                    <a:pt x="4719794" y="168553"/>
                    <a:pt x="4790345" y="177592"/>
                  </a:cubicBezTo>
                  <a:cubicBezTo>
                    <a:pt x="4834576" y="183345"/>
                    <a:pt x="4875614" y="193701"/>
                    <a:pt x="4926164" y="184139"/>
                  </a:cubicBezTo>
                  <a:cubicBezTo>
                    <a:pt x="4974485" y="175032"/>
                    <a:pt x="5034899" y="180870"/>
                    <a:pt x="5088812" y="177401"/>
                  </a:cubicBezTo>
                  <a:cubicBezTo>
                    <a:pt x="5134238" y="174439"/>
                    <a:pt x="5178353" y="168165"/>
                    <a:pt x="5222466" y="162082"/>
                  </a:cubicBezTo>
                  <a:cubicBezTo>
                    <a:pt x="5282519" y="153783"/>
                    <a:pt x="5341864" y="144876"/>
                    <a:pt x="5406528" y="153987"/>
                  </a:cubicBezTo>
                  <a:cubicBezTo>
                    <a:pt x="5479960" y="164323"/>
                    <a:pt x="5531876" y="142624"/>
                    <a:pt x="5590716" y="129490"/>
                  </a:cubicBezTo>
                  <a:cubicBezTo>
                    <a:pt x="5631296" y="120553"/>
                    <a:pt x="5675395" y="114659"/>
                    <a:pt x="5719429" y="110099"/>
                  </a:cubicBezTo>
                  <a:cubicBezTo>
                    <a:pt x="5778247" y="104215"/>
                    <a:pt x="5838715" y="102042"/>
                    <a:pt x="5897895" y="96368"/>
                  </a:cubicBezTo>
                  <a:cubicBezTo>
                    <a:pt x="5987399" y="87895"/>
                    <a:pt x="6077855" y="82333"/>
                    <a:pt x="6169957" y="94411"/>
                  </a:cubicBezTo>
                  <a:cubicBezTo>
                    <a:pt x="6212360" y="99875"/>
                    <a:pt x="6252010" y="101763"/>
                    <a:pt x="6294827" y="99236"/>
                  </a:cubicBezTo>
                  <a:cubicBezTo>
                    <a:pt x="6364965" y="95091"/>
                    <a:pt x="6436581" y="97891"/>
                    <a:pt x="6494261" y="71724"/>
                  </a:cubicBezTo>
                  <a:cubicBezTo>
                    <a:pt x="6514615" y="62488"/>
                    <a:pt x="6550354" y="61691"/>
                    <a:pt x="6579627" y="57883"/>
                  </a:cubicBezTo>
                  <a:cubicBezTo>
                    <a:pt x="6613354" y="53353"/>
                    <a:pt x="6637770" y="57878"/>
                    <a:pt x="6654800" y="77086"/>
                  </a:cubicBezTo>
                  <a:cubicBezTo>
                    <a:pt x="6662444" y="85688"/>
                    <a:pt x="6685147" y="94892"/>
                    <a:pt x="6703059" y="97166"/>
                  </a:cubicBezTo>
                  <a:cubicBezTo>
                    <a:pt x="6756799" y="103989"/>
                    <a:pt x="6806654" y="100687"/>
                    <a:pt x="6859445" y="90481"/>
                  </a:cubicBezTo>
                  <a:cubicBezTo>
                    <a:pt x="6908894" y="80861"/>
                    <a:pt x="6969747" y="85387"/>
                    <a:pt x="7025414" y="83536"/>
                  </a:cubicBezTo>
                  <a:cubicBezTo>
                    <a:pt x="7064862" y="82168"/>
                    <a:pt x="7104501" y="77186"/>
                    <a:pt x="7144137" y="79264"/>
                  </a:cubicBezTo>
                  <a:cubicBezTo>
                    <a:pt x="7193316" y="81841"/>
                    <a:pt x="7241809" y="90488"/>
                    <a:pt x="7291235" y="95367"/>
                  </a:cubicBezTo>
                  <a:cubicBezTo>
                    <a:pt x="7329668" y="99288"/>
                    <a:pt x="7368978" y="100585"/>
                    <a:pt x="7407395" y="104888"/>
                  </a:cubicBezTo>
                  <a:cubicBezTo>
                    <a:pt x="7438868" y="108256"/>
                    <a:pt x="7469832" y="114265"/>
                    <a:pt x="7500837" y="119515"/>
                  </a:cubicBezTo>
                  <a:cubicBezTo>
                    <a:pt x="7512146" y="121444"/>
                    <a:pt x="7523255" y="127178"/>
                    <a:pt x="7533567" y="126955"/>
                  </a:cubicBezTo>
                  <a:cubicBezTo>
                    <a:pt x="7636025" y="124121"/>
                    <a:pt x="7707510" y="164497"/>
                    <a:pt x="7792910" y="185188"/>
                  </a:cubicBezTo>
                  <a:cubicBezTo>
                    <a:pt x="7882663" y="207063"/>
                    <a:pt x="7969001" y="237914"/>
                    <a:pt x="8070699" y="235423"/>
                  </a:cubicBezTo>
                  <a:cubicBezTo>
                    <a:pt x="8132239" y="233879"/>
                    <a:pt x="8191903" y="225939"/>
                    <a:pt x="8253177" y="222473"/>
                  </a:cubicBezTo>
                  <a:cubicBezTo>
                    <a:pt x="8274949" y="221324"/>
                    <a:pt x="8299150" y="222976"/>
                    <a:pt x="8320683" y="226393"/>
                  </a:cubicBezTo>
                  <a:cubicBezTo>
                    <a:pt x="8424731" y="242340"/>
                    <a:pt x="8527777" y="249266"/>
                    <a:pt x="8631438" y="237528"/>
                  </a:cubicBezTo>
                  <a:cubicBezTo>
                    <a:pt x="8649201" y="235596"/>
                    <a:pt x="8668058" y="233915"/>
                    <a:pt x="8686410" y="234877"/>
                  </a:cubicBezTo>
                  <a:cubicBezTo>
                    <a:pt x="8786966" y="240146"/>
                    <a:pt x="8885480" y="249315"/>
                    <a:pt x="8980658" y="273001"/>
                  </a:cubicBezTo>
                  <a:cubicBezTo>
                    <a:pt x="9012626" y="280972"/>
                    <a:pt x="9052108" y="279035"/>
                    <a:pt x="9087625" y="282423"/>
                  </a:cubicBezTo>
                  <a:cubicBezTo>
                    <a:pt x="9120583" y="285484"/>
                    <a:pt x="9154319" y="287825"/>
                    <a:pt x="9186017" y="293875"/>
                  </a:cubicBezTo>
                  <a:cubicBezTo>
                    <a:pt x="9232288" y="302785"/>
                    <a:pt x="9275554" y="305815"/>
                    <a:pt x="9323931" y="302628"/>
                  </a:cubicBezTo>
                  <a:cubicBezTo>
                    <a:pt x="9370084" y="299705"/>
                    <a:pt x="9419491" y="304964"/>
                    <a:pt x="9467213" y="307275"/>
                  </a:cubicBezTo>
                  <a:cubicBezTo>
                    <a:pt x="9520438" y="309874"/>
                    <a:pt x="9573661" y="312473"/>
                    <a:pt x="9626826" y="316213"/>
                  </a:cubicBezTo>
                  <a:cubicBezTo>
                    <a:pt x="9648094" y="317708"/>
                    <a:pt x="9671915" y="326588"/>
                    <a:pt x="9689696" y="324467"/>
                  </a:cubicBezTo>
                  <a:cubicBezTo>
                    <a:pt x="9747117" y="317175"/>
                    <a:pt x="9803355" y="332523"/>
                    <a:pt x="9860526" y="329986"/>
                  </a:cubicBezTo>
                  <a:cubicBezTo>
                    <a:pt x="9888572" y="328594"/>
                    <a:pt x="9919723" y="338048"/>
                    <a:pt x="9949775" y="340386"/>
                  </a:cubicBezTo>
                  <a:cubicBezTo>
                    <a:pt x="9998886" y="344296"/>
                    <a:pt x="10048092" y="346302"/>
                    <a:pt x="10097252" y="349262"/>
                  </a:cubicBezTo>
                  <a:cubicBezTo>
                    <a:pt x="10113390" y="350297"/>
                    <a:pt x="10129133" y="351886"/>
                    <a:pt x="10145261" y="353113"/>
                  </a:cubicBezTo>
                  <a:cubicBezTo>
                    <a:pt x="10159555" y="354243"/>
                    <a:pt x="10174512" y="356743"/>
                    <a:pt x="10188159" y="356124"/>
                  </a:cubicBezTo>
                  <a:cubicBezTo>
                    <a:pt x="10237589" y="353944"/>
                    <a:pt x="10286441" y="348682"/>
                    <a:pt x="10336144" y="348235"/>
                  </a:cubicBezTo>
                  <a:cubicBezTo>
                    <a:pt x="10379222" y="347822"/>
                    <a:pt x="10423443" y="353764"/>
                    <a:pt x="10466847" y="354131"/>
                  </a:cubicBezTo>
                  <a:cubicBezTo>
                    <a:pt x="10543353" y="354898"/>
                    <a:pt x="10619988" y="353190"/>
                    <a:pt x="10696514" y="353575"/>
                  </a:cubicBezTo>
                  <a:cubicBezTo>
                    <a:pt x="10713071" y="353680"/>
                    <a:pt x="10730069" y="359342"/>
                    <a:pt x="10746932" y="360606"/>
                  </a:cubicBezTo>
                  <a:cubicBezTo>
                    <a:pt x="10799731" y="364326"/>
                    <a:pt x="10852569" y="367289"/>
                    <a:pt x="10905388" y="370627"/>
                  </a:cubicBezTo>
                  <a:cubicBezTo>
                    <a:pt x="10935470" y="372396"/>
                    <a:pt x="10965963" y="373421"/>
                    <a:pt x="10995602" y="376691"/>
                  </a:cubicBezTo>
                  <a:cubicBezTo>
                    <a:pt x="11034750" y="381032"/>
                    <a:pt x="11070168" y="386324"/>
                    <a:pt x="11107647" y="373405"/>
                  </a:cubicBezTo>
                  <a:cubicBezTo>
                    <a:pt x="11165372" y="353347"/>
                    <a:pt x="11236837" y="366060"/>
                    <a:pt x="11302440" y="364156"/>
                  </a:cubicBezTo>
                  <a:cubicBezTo>
                    <a:pt x="11319394" y="363708"/>
                    <a:pt x="11336655" y="364422"/>
                    <a:pt x="11353613" y="363785"/>
                  </a:cubicBezTo>
                  <a:cubicBezTo>
                    <a:pt x="11384961" y="362566"/>
                    <a:pt x="11415955" y="360947"/>
                    <a:pt x="11447323" y="359346"/>
                  </a:cubicBezTo>
                  <a:cubicBezTo>
                    <a:pt x="11452855" y="359066"/>
                    <a:pt x="11459104" y="359200"/>
                    <a:pt x="11464292" y="358519"/>
                  </a:cubicBezTo>
                  <a:cubicBezTo>
                    <a:pt x="11512058" y="353010"/>
                    <a:pt x="11559143" y="346321"/>
                    <a:pt x="11607560" y="342370"/>
                  </a:cubicBezTo>
                  <a:cubicBezTo>
                    <a:pt x="11631218" y="340368"/>
                    <a:pt x="11657295" y="341352"/>
                    <a:pt x="11681426" y="344335"/>
                  </a:cubicBezTo>
                  <a:cubicBezTo>
                    <a:pt x="11751997" y="352993"/>
                    <a:pt x="11821986" y="358760"/>
                    <a:pt x="11893565" y="355261"/>
                  </a:cubicBezTo>
                  <a:cubicBezTo>
                    <a:pt x="11921973" y="353889"/>
                    <a:pt x="11953288" y="360300"/>
                    <a:pt x="11983290" y="363588"/>
                  </a:cubicBezTo>
                  <a:lnTo>
                    <a:pt x="12192000" y="388018"/>
                  </a:lnTo>
                  <a:lnTo>
                    <a:pt x="12192000" y="577115"/>
                  </a:lnTo>
                  <a:lnTo>
                    <a:pt x="12157329" y="588862"/>
                  </a:lnTo>
                  <a:cubicBezTo>
                    <a:pt x="12118393" y="608572"/>
                    <a:pt x="12109715" y="605637"/>
                    <a:pt x="12066948" y="586034"/>
                  </a:cubicBezTo>
                  <a:cubicBezTo>
                    <a:pt x="12016991" y="563193"/>
                    <a:pt x="11965119" y="541779"/>
                    <a:pt x="11911344" y="521599"/>
                  </a:cubicBezTo>
                  <a:cubicBezTo>
                    <a:pt x="11894383" y="515178"/>
                    <a:pt x="11869417" y="514060"/>
                    <a:pt x="11847823" y="511785"/>
                  </a:cubicBezTo>
                  <a:cubicBezTo>
                    <a:pt x="11811233" y="507768"/>
                    <a:pt x="11773630" y="501982"/>
                    <a:pt x="11737547" y="502380"/>
                  </a:cubicBezTo>
                  <a:cubicBezTo>
                    <a:pt x="11702930" y="502855"/>
                    <a:pt x="11668388" y="508866"/>
                    <a:pt x="11636052" y="514993"/>
                  </a:cubicBezTo>
                  <a:cubicBezTo>
                    <a:pt x="11545722" y="532199"/>
                    <a:pt x="11462455" y="555118"/>
                    <a:pt x="11394706" y="590867"/>
                  </a:cubicBezTo>
                  <a:cubicBezTo>
                    <a:pt x="11385999" y="595562"/>
                    <a:pt x="11369016" y="596581"/>
                    <a:pt x="11354978" y="597561"/>
                  </a:cubicBezTo>
                  <a:cubicBezTo>
                    <a:pt x="11332076" y="599224"/>
                    <a:pt x="11308448" y="600655"/>
                    <a:pt x="11285306" y="599825"/>
                  </a:cubicBezTo>
                  <a:cubicBezTo>
                    <a:pt x="11172906" y="595841"/>
                    <a:pt x="11083430" y="617861"/>
                    <a:pt x="11008528" y="656670"/>
                  </a:cubicBezTo>
                  <a:cubicBezTo>
                    <a:pt x="10986971" y="667750"/>
                    <a:pt x="10970753" y="668236"/>
                    <a:pt x="10948735" y="652964"/>
                  </a:cubicBezTo>
                  <a:cubicBezTo>
                    <a:pt x="10923173" y="635218"/>
                    <a:pt x="10885031" y="639705"/>
                    <a:pt x="10850698" y="641721"/>
                  </a:cubicBezTo>
                  <a:cubicBezTo>
                    <a:pt x="10815269" y="643680"/>
                    <a:pt x="10779458" y="645811"/>
                    <a:pt x="10744026" y="647769"/>
                  </a:cubicBezTo>
                  <a:cubicBezTo>
                    <a:pt x="10717832" y="649066"/>
                    <a:pt x="10692021" y="650003"/>
                    <a:pt x="10666160" y="651891"/>
                  </a:cubicBezTo>
                  <a:cubicBezTo>
                    <a:pt x="10585627" y="657783"/>
                    <a:pt x="10513854" y="650969"/>
                    <a:pt x="10450521" y="616552"/>
                  </a:cubicBezTo>
                  <a:cubicBezTo>
                    <a:pt x="10402221" y="590175"/>
                    <a:pt x="10339099" y="579806"/>
                    <a:pt x="10271192" y="583498"/>
                  </a:cubicBezTo>
                  <a:cubicBezTo>
                    <a:pt x="10262701" y="584006"/>
                    <a:pt x="10251859" y="587254"/>
                    <a:pt x="10246067" y="585423"/>
                  </a:cubicBezTo>
                  <a:cubicBezTo>
                    <a:pt x="10158786" y="558528"/>
                    <a:pt x="10086634" y="594049"/>
                    <a:pt x="10005027" y="592252"/>
                  </a:cubicBezTo>
                  <a:cubicBezTo>
                    <a:pt x="9969004" y="591507"/>
                    <a:pt x="9931565" y="603664"/>
                    <a:pt x="9898681" y="613195"/>
                  </a:cubicBezTo>
                  <a:cubicBezTo>
                    <a:pt x="9853463" y="626281"/>
                    <a:pt x="9813049" y="639042"/>
                    <a:pt x="9753225" y="629038"/>
                  </a:cubicBezTo>
                  <a:cubicBezTo>
                    <a:pt x="9693404" y="618845"/>
                    <a:pt x="9637675" y="628898"/>
                    <a:pt x="9591376" y="648601"/>
                  </a:cubicBezTo>
                  <a:cubicBezTo>
                    <a:pt x="9556001" y="663537"/>
                    <a:pt x="9518120" y="663077"/>
                    <a:pt x="9472860" y="655936"/>
                  </a:cubicBezTo>
                  <a:cubicBezTo>
                    <a:pt x="9416283" y="647056"/>
                    <a:pt x="9357217" y="643578"/>
                    <a:pt x="9299788" y="636945"/>
                  </a:cubicBezTo>
                  <a:cubicBezTo>
                    <a:pt x="9287347" y="635531"/>
                    <a:pt x="9271710" y="632039"/>
                    <a:pt x="9264605" y="627087"/>
                  </a:cubicBezTo>
                  <a:cubicBezTo>
                    <a:pt x="9177661" y="565680"/>
                    <a:pt x="9051076" y="558473"/>
                    <a:pt x="8926435" y="549269"/>
                  </a:cubicBezTo>
                  <a:cubicBezTo>
                    <a:pt x="8850925" y="543595"/>
                    <a:pt x="8774954" y="539613"/>
                    <a:pt x="8698934" y="536583"/>
                  </a:cubicBezTo>
                  <a:cubicBezTo>
                    <a:pt x="8673232" y="535428"/>
                    <a:pt x="8645916" y="537050"/>
                    <a:pt x="8622862" y="541563"/>
                  </a:cubicBezTo>
                  <a:cubicBezTo>
                    <a:pt x="8574890" y="551069"/>
                    <a:pt x="8530403" y="564380"/>
                    <a:pt x="8482784" y="574094"/>
                  </a:cubicBezTo>
                  <a:cubicBezTo>
                    <a:pt x="8464923" y="577929"/>
                    <a:pt x="8442157" y="576927"/>
                    <a:pt x="8421565" y="576610"/>
                  </a:cubicBezTo>
                  <a:cubicBezTo>
                    <a:pt x="8385152" y="576229"/>
                    <a:pt x="8345023" y="569546"/>
                    <a:pt x="8313469" y="574762"/>
                  </a:cubicBezTo>
                  <a:cubicBezTo>
                    <a:pt x="8231431" y="588203"/>
                    <a:pt x="8155671" y="580227"/>
                    <a:pt x="8079520" y="558685"/>
                  </a:cubicBezTo>
                  <a:cubicBezTo>
                    <a:pt x="7972906" y="528487"/>
                    <a:pt x="7870782" y="525043"/>
                    <a:pt x="7773327" y="558854"/>
                  </a:cubicBezTo>
                  <a:cubicBezTo>
                    <a:pt x="7729470" y="574107"/>
                    <a:pt x="7688069" y="563543"/>
                    <a:pt x="7652477" y="547561"/>
                  </a:cubicBezTo>
                  <a:cubicBezTo>
                    <a:pt x="7611494" y="529005"/>
                    <a:pt x="7570974" y="522685"/>
                    <a:pt x="7522274" y="532150"/>
                  </a:cubicBezTo>
                  <a:cubicBezTo>
                    <a:pt x="7511488" y="534257"/>
                    <a:pt x="7496511" y="532136"/>
                    <a:pt x="7484080" y="530532"/>
                  </a:cubicBezTo>
                  <a:cubicBezTo>
                    <a:pt x="7413133" y="522044"/>
                    <a:pt x="7341987" y="510303"/>
                    <a:pt x="7282277" y="540177"/>
                  </a:cubicBezTo>
                  <a:cubicBezTo>
                    <a:pt x="7270558" y="546051"/>
                    <a:pt x="7251336" y="547713"/>
                    <a:pt x="7235690" y="551282"/>
                  </a:cubicBezTo>
                  <a:cubicBezTo>
                    <a:pt x="7170161" y="565782"/>
                    <a:pt x="7172820" y="564203"/>
                    <a:pt x="7116339" y="539494"/>
                  </a:cubicBezTo>
                  <a:cubicBezTo>
                    <a:pt x="7086841" y="526502"/>
                    <a:pt x="7045980" y="512724"/>
                    <a:pt x="7011067" y="511848"/>
                  </a:cubicBezTo>
                  <a:cubicBezTo>
                    <a:pt x="6800473" y="506533"/>
                    <a:pt x="6601893" y="468653"/>
                    <a:pt x="6403234" y="432296"/>
                  </a:cubicBezTo>
                  <a:cubicBezTo>
                    <a:pt x="6280760" y="409851"/>
                    <a:pt x="6160432" y="402592"/>
                    <a:pt x="6036273" y="412301"/>
                  </a:cubicBezTo>
                  <a:cubicBezTo>
                    <a:pt x="5946471" y="419425"/>
                    <a:pt x="5863077" y="395593"/>
                    <a:pt x="5780467" y="377910"/>
                  </a:cubicBezTo>
                  <a:cubicBezTo>
                    <a:pt x="5763357" y="374343"/>
                    <a:pt x="5747757" y="363033"/>
                    <a:pt x="5739051" y="353609"/>
                  </a:cubicBezTo>
                  <a:cubicBezTo>
                    <a:pt x="5707675" y="320294"/>
                    <a:pt x="5653252" y="312483"/>
                    <a:pt x="5583566" y="321995"/>
                  </a:cubicBezTo>
                  <a:cubicBezTo>
                    <a:pt x="5528347" y="329404"/>
                    <a:pt x="5477716" y="340486"/>
                    <a:pt x="5432030" y="362512"/>
                  </a:cubicBezTo>
                  <a:cubicBezTo>
                    <a:pt x="5378421" y="388318"/>
                    <a:pt x="5322767" y="418026"/>
                    <a:pt x="5241398" y="425781"/>
                  </a:cubicBezTo>
                  <a:cubicBezTo>
                    <a:pt x="5206262" y="429089"/>
                    <a:pt x="5176131" y="428273"/>
                    <a:pt x="5139710" y="421022"/>
                  </a:cubicBezTo>
                  <a:cubicBezTo>
                    <a:pt x="5069048" y="407018"/>
                    <a:pt x="4997864" y="396037"/>
                    <a:pt x="4929402" y="424310"/>
                  </a:cubicBezTo>
                  <a:cubicBezTo>
                    <a:pt x="4891785" y="439890"/>
                    <a:pt x="4841650" y="448519"/>
                    <a:pt x="4782793" y="441046"/>
                  </a:cubicBezTo>
                  <a:cubicBezTo>
                    <a:pt x="4709316" y="431663"/>
                    <a:pt x="4641426" y="442031"/>
                    <a:pt x="4577594" y="459290"/>
                  </a:cubicBezTo>
                  <a:cubicBezTo>
                    <a:pt x="4554816" y="465538"/>
                    <a:pt x="4527069" y="468279"/>
                    <a:pt x="4500826" y="470529"/>
                  </a:cubicBezTo>
                  <a:cubicBezTo>
                    <a:pt x="4440199" y="475746"/>
                    <a:pt x="4379252" y="479993"/>
                    <a:pt x="4317973" y="483649"/>
                  </a:cubicBezTo>
                  <a:cubicBezTo>
                    <a:pt x="4267762" y="486741"/>
                    <a:pt x="4217264" y="488292"/>
                    <a:pt x="4166722" y="490602"/>
                  </a:cubicBezTo>
                  <a:cubicBezTo>
                    <a:pt x="4111394" y="493045"/>
                    <a:pt x="4067073" y="503124"/>
                    <a:pt x="4042814" y="530660"/>
                  </a:cubicBezTo>
                  <a:cubicBezTo>
                    <a:pt x="4034996" y="539407"/>
                    <a:pt x="4017001" y="545715"/>
                    <a:pt x="4002653" y="552594"/>
                  </a:cubicBezTo>
                  <a:cubicBezTo>
                    <a:pt x="3992459" y="557592"/>
                    <a:pt x="3979023" y="561086"/>
                    <a:pt x="3969549" y="566312"/>
                  </a:cubicBezTo>
                  <a:cubicBezTo>
                    <a:pt x="3919896" y="593854"/>
                    <a:pt x="3870968" y="621622"/>
                    <a:pt x="3821685" y="649183"/>
                  </a:cubicBezTo>
                  <a:cubicBezTo>
                    <a:pt x="3816761" y="651788"/>
                    <a:pt x="3811445" y="654943"/>
                    <a:pt x="3805138" y="655947"/>
                  </a:cubicBezTo>
                  <a:cubicBezTo>
                    <a:pt x="3739817" y="666451"/>
                    <a:pt x="3673801" y="676154"/>
                    <a:pt x="3609177" y="687459"/>
                  </a:cubicBezTo>
                  <a:cubicBezTo>
                    <a:pt x="3584288" y="691878"/>
                    <a:pt x="3558597" y="697589"/>
                    <a:pt x="3539727" y="706521"/>
                  </a:cubicBezTo>
                  <a:cubicBezTo>
                    <a:pt x="3496714" y="726780"/>
                    <a:pt x="3457268" y="749132"/>
                    <a:pt x="3396572" y="755681"/>
                  </a:cubicBezTo>
                  <a:cubicBezTo>
                    <a:pt x="3378807" y="757611"/>
                    <a:pt x="3357809" y="758036"/>
                    <a:pt x="3341054" y="754679"/>
                  </a:cubicBezTo>
                  <a:cubicBezTo>
                    <a:pt x="3272962" y="740809"/>
                    <a:pt x="3206471" y="724541"/>
                    <a:pt x="3138775" y="710120"/>
                  </a:cubicBezTo>
                  <a:cubicBezTo>
                    <a:pt x="3095820" y="701191"/>
                    <a:pt x="3056969" y="691141"/>
                    <a:pt x="3037283" y="666453"/>
                  </a:cubicBezTo>
                  <a:cubicBezTo>
                    <a:pt x="3031764" y="659487"/>
                    <a:pt x="3015626" y="651391"/>
                    <a:pt x="3002117" y="649347"/>
                  </a:cubicBezTo>
                  <a:cubicBezTo>
                    <a:pt x="2915220" y="636209"/>
                    <a:pt x="2829194" y="627503"/>
                    <a:pt x="2747294" y="652400"/>
                  </a:cubicBezTo>
                  <a:cubicBezTo>
                    <a:pt x="2730084" y="657794"/>
                    <a:pt x="2698519" y="656140"/>
                    <a:pt x="2676273" y="652304"/>
                  </a:cubicBezTo>
                  <a:cubicBezTo>
                    <a:pt x="2590546" y="637890"/>
                    <a:pt x="2508883" y="630176"/>
                    <a:pt x="2432360" y="657836"/>
                  </a:cubicBezTo>
                  <a:cubicBezTo>
                    <a:pt x="2423352" y="661179"/>
                    <a:pt x="2395274" y="656272"/>
                    <a:pt x="2382311" y="650824"/>
                  </a:cubicBezTo>
                  <a:cubicBezTo>
                    <a:pt x="2257393" y="597728"/>
                    <a:pt x="2187724" y="592930"/>
                    <a:pt x="2055134" y="630053"/>
                  </a:cubicBezTo>
                  <a:cubicBezTo>
                    <a:pt x="2046542" y="632464"/>
                    <a:pt x="2035364" y="635121"/>
                    <a:pt x="2031829" y="639324"/>
                  </a:cubicBezTo>
                  <a:cubicBezTo>
                    <a:pt x="2007977" y="666120"/>
                    <a:pt x="1960229" y="664380"/>
                    <a:pt x="1912764" y="664183"/>
                  </a:cubicBezTo>
                  <a:cubicBezTo>
                    <a:pt x="1860521" y="663924"/>
                    <a:pt x="1808236" y="664426"/>
                    <a:pt x="1755637" y="663960"/>
                  </a:cubicBezTo>
                  <a:cubicBezTo>
                    <a:pt x="1746439" y="663859"/>
                    <a:pt x="1736243" y="661799"/>
                    <a:pt x="1727159" y="659605"/>
                  </a:cubicBezTo>
                  <a:cubicBezTo>
                    <a:pt x="1692256" y="651480"/>
                    <a:pt x="1658604" y="640559"/>
                    <a:pt x="1622470" y="634850"/>
                  </a:cubicBezTo>
                  <a:cubicBezTo>
                    <a:pt x="1544362" y="622552"/>
                    <a:pt x="1469248" y="602210"/>
                    <a:pt x="1385955" y="604522"/>
                  </a:cubicBezTo>
                  <a:cubicBezTo>
                    <a:pt x="1371585" y="604913"/>
                    <a:pt x="1355357" y="598530"/>
                    <a:pt x="1340055" y="595629"/>
                  </a:cubicBezTo>
                  <a:cubicBezTo>
                    <a:pt x="1312351" y="590552"/>
                    <a:pt x="1285460" y="583993"/>
                    <a:pt x="1257271" y="581180"/>
                  </a:cubicBezTo>
                  <a:cubicBezTo>
                    <a:pt x="1182583" y="573830"/>
                    <a:pt x="1107142" y="566824"/>
                    <a:pt x="1031914" y="562692"/>
                  </a:cubicBezTo>
                  <a:cubicBezTo>
                    <a:pt x="995593" y="560597"/>
                    <a:pt x="958880" y="565923"/>
                    <a:pt x="922031" y="566853"/>
                  </a:cubicBezTo>
                  <a:cubicBezTo>
                    <a:pt x="905446" y="567320"/>
                    <a:pt x="878533" y="568199"/>
                    <a:pt x="873250" y="563724"/>
                  </a:cubicBezTo>
                  <a:cubicBezTo>
                    <a:pt x="832343" y="529722"/>
                    <a:pt x="772202" y="532674"/>
                    <a:pt x="711627" y="529880"/>
                  </a:cubicBezTo>
                  <a:cubicBezTo>
                    <a:pt x="577999" y="523641"/>
                    <a:pt x="447408" y="543696"/>
                    <a:pt x="311112" y="525106"/>
                  </a:cubicBezTo>
                  <a:cubicBezTo>
                    <a:pt x="271645" y="519795"/>
                    <a:pt x="226936" y="530235"/>
                    <a:pt x="184145" y="532188"/>
                  </a:cubicBezTo>
                  <a:cubicBezTo>
                    <a:pt x="162015" y="533128"/>
                    <a:pt x="137665" y="534333"/>
                    <a:pt x="116886" y="530572"/>
                  </a:cubicBezTo>
                  <a:cubicBezTo>
                    <a:pt x="84810" y="524693"/>
                    <a:pt x="54011" y="515448"/>
                    <a:pt x="23941" y="506433"/>
                  </a:cubicBezTo>
                  <a:lnTo>
                    <a:pt x="0" y="502149"/>
                  </a:lnTo>
                  <a:close/>
                </a:path>
              </a:pathLst>
            </a:custGeom>
            <a:blipFill>
              <a:blip r:embed="rId7">
                <a:alphaModFix amt="57000"/>
              </a:blip>
              <a:tile tx="0" ty="0" sx="100000" sy="100000" flip="none" algn="tl"/>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836608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D12A7-87D5-C559-FB15-600D890A1BBF}"/>
              </a:ext>
            </a:extLst>
          </p:cNvPr>
          <p:cNvSpPr>
            <a:spLocks noGrp="1"/>
          </p:cNvSpPr>
          <p:nvPr>
            <p:ph type="title"/>
          </p:nvPr>
        </p:nvSpPr>
        <p:spPr>
          <a:xfrm>
            <a:off x="360759" y="3752849"/>
            <a:ext cx="2468166" cy="2452687"/>
          </a:xfrm>
        </p:spPr>
        <p:txBody>
          <a:bodyPr vert="horz" lIns="91440" tIns="45720" rIns="91440" bIns="45720" rtlCol="0" anchor="ctr">
            <a:normAutofit/>
          </a:bodyPr>
          <a:lstStyle/>
          <a:p>
            <a:pPr algn="l">
              <a:lnSpc>
                <a:spcPct val="90000"/>
              </a:lnSpc>
            </a:pPr>
            <a:r>
              <a:rPr lang="en-US" sz="3100" dirty="0"/>
              <a:t>Ten Year Analysis of Cases</a:t>
            </a:r>
          </a:p>
        </p:txBody>
      </p:sp>
      <p:pic>
        <p:nvPicPr>
          <p:cNvPr id="6" name="Content Placeholder 5" descr="A car on the road&#10;&#10;Description automatically generated">
            <a:extLst>
              <a:ext uri="{FF2B5EF4-FFF2-40B4-BE49-F238E27FC236}">
                <a16:creationId xmlns:a16="http://schemas.microsoft.com/office/drawing/2014/main" id="{AA5CC5A0-190D-D1F8-2105-4D3BA307836F}"/>
              </a:ext>
            </a:extLst>
          </p:cNvPr>
          <p:cNvPicPr>
            <a:picLocks noGrp="1" noChangeAspect="1"/>
          </p:cNvPicPr>
          <p:nvPr>
            <p:ph sz="half" idx="2"/>
          </p:nvPr>
        </p:nvPicPr>
        <p:blipFill rotWithShape="1">
          <a:blip r:embed="rId2">
            <a:extLst>
              <a:ext uri="{28A0092B-C50C-407E-A947-70E740481C1C}">
                <a14:useLocalDpi xmlns:a14="http://schemas.microsoft.com/office/drawing/2010/main" val="0"/>
              </a:ext>
            </a:extLst>
          </a:blip>
          <a:srcRect b="19244"/>
          <a:stretch/>
        </p:blipFill>
        <p:spPr>
          <a:xfrm>
            <a:off x="20" y="10"/>
            <a:ext cx="9143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04A3399C-C89E-AC5E-47EF-2F922A35A975}"/>
              </a:ext>
            </a:extLst>
          </p:cNvPr>
          <p:cNvSpPr>
            <a:spLocks noGrp="1"/>
          </p:cNvSpPr>
          <p:nvPr>
            <p:ph sz="half" idx="1"/>
          </p:nvPr>
        </p:nvSpPr>
        <p:spPr>
          <a:xfrm>
            <a:off x="3167986" y="3752850"/>
            <a:ext cx="5614060" cy="2800350"/>
          </a:xfrm>
        </p:spPr>
        <p:txBody>
          <a:bodyPr vert="horz" lIns="91440" tIns="45720" rIns="91440" bIns="45720" rtlCol="0" anchor="ctr">
            <a:noAutofit/>
          </a:bodyPr>
          <a:lstStyle/>
          <a:p>
            <a:pPr indent="-228600">
              <a:lnSpc>
                <a:spcPct val="90000"/>
              </a:lnSpc>
            </a:pPr>
            <a:r>
              <a:rPr lang="en-US" sz="2000" dirty="0"/>
              <a:t>17 cases linked to TDD deployment or use.</a:t>
            </a:r>
          </a:p>
          <a:p>
            <a:pPr lvl="1" indent="-228600">
              <a:lnSpc>
                <a:spcPct val="90000"/>
              </a:lnSpc>
            </a:pPr>
            <a:r>
              <a:rPr lang="en-US" sz="2000" dirty="0"/>
              <a:t>In 15 of those cases the officers we either completely exposed in the roadway or did not have adequate protection.</a:t>
            </a:r>
          </a:p>
          <a:p>
            <a:pPr lvl="1" indent="-228600">
              <a:lnSpc>
                <a:spcPct val="90000"/>
              </a:lnSpc>
            </a:pPr>
            <a:r>
              <a:rPr lang="en-US" sz="2000" dirty="0"/>
              <a:t>Officers taking unnecessary risks and not deploying the devices as intended or trained on.</a:t>
            </a:r>
          </a:p>
          <a:p>
            <a:pPr lvl="1" indent="-228600">
              <a:lnSpc>
                <a:spcPct val="90000"/>
              </a:lnSpc>
            </a:pPr>
            <a:r>
              <a:rPr lang="en-US" sz="2000" b="1" dirty="0">
                <a:solidFill>
                  <a:srgbClr val="FF0000"/>
                </a:solidFill>
              </a:rPr>
              <a:t>3 of the officers killed were struck by fellow officers</a:t>
            </a:r>
          </a:p>
        </p:txBody>
      </p:sp>
    </p:spTree>
    <p:extLst>
      <p:ext uri="{BB962C8B-B14F-4D97-AF65-F5344CB8AC3E}">
        <p14:creationId xmlns:p14="http://schemas.microsoft.com/office/powerpoint/2010/main" val="31218731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83356" y="1928731"/>
            <a:ext cx="3333749" cy="2624327"/>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group of people holding candles in front of a monument&#10;&#10;Description automatically generated">
            <a:extLst>
              <a:ext uri="{FF2B5EF4-FFF2-40B4-BE49-F238E27FC236}">
                <a16:creationId xmlns:a16="http://schemas.microsoft.com/office/drawing/2014/main" id="{0B0F1198-E721-129E-38D3-452EECBE97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5213" y="642938"/>
            <a:ext cx="5037138" cy="3762375"/>
          </a:xfrm>
          <a:prstGeom prst="rect">
            <a:avLst/>
          </a:prstGeom>
        </p:spPr>
      </p:pic>
      <p:pic>
        <p:nvPicPr>
          <p:cNvPr id="5" name="Content Placeholder 4" descr="A car with a poster on the back&#10;&#10;Description automatically generated with medium confidence">
            <a:extLst>
              <a:ext uri="{FF2B5EF4-FFF2-40B4-BE49-F238E27FC236}">
                <a16:creationId xmlns:a16="http://schemas.microsoft.com/office/drawing/2014/main" id="{1C2724FE-4199-A280-7688-0134A7A1DF39}"/>
              </a:ext>
            </a:extLst>
          </p:cNvPr>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3605213" y="4473575"/>
            <a:ext cx="1276350" cy="1736725"/>
          </a:xfrm>
        </p:spPr>
      </p:pic>
      <p:pic>
        <p:nvPicPr>
          <p:cNvPr id="7" name="Picture 6" descr="A group of people sitting in a lecture hall&#10;&#10;Description automatically generated">
            <a:extLst>
              <a:ext uri="{FF2B5EF4-FFF2-40B4-BE49-F238E27FC236}">
                <a16:creationId xmlns:a16="http://schemas.microsoft.com/office/drawing/2014/main" id="{48FB272D-C93E-BB9C-99C0-95802800A3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48238" y="4473575"/>
            <a:ext cx="2339975" cy="1736725"/>
          </a:xfrm>
          <a:prstGeom prst="rect">
            <a:avLst/>
          </a:prstGeom>
        </p:spPr>
      </p:pic>
      <p:pic>
        <p:nvPicPr>
          <p:cNvPr id="9" name="Picture 8" descr="A group of people at a convention&#10;&#10;Description automatically generated">
            <a:extLst>
              <a:ext uri="{FF2B5EF4-FFF2-40B4-BE49-F238E27FC236}">
                <a16:creationId xmlns:a16="http://schemas.microsoft.com/office/drawing/2014/main" id="{67F24437-1D2F-C908-BF04-6C7CED02F7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31050" y="4699000"/>
            <a:ext cx="1736725" cy="1285875"/>
          </a:xfrm>
          <a:prstGeom prst="rect">
            <a:avLst/>
          </a:prstGeom>
        </p:spPr>
      </p:pic>
      <p:sp>
        <p:nvSpPr>
          <p:cNvPr id="2" name="Title 1">
            <a:extLst>
              <a:ext uri="{FF2B5EF4-FFF2-40B4-BE49-F238E27FC236}">
                <a16:creationId xmlns:a16="http://schemas.microsoft.com/office/drawing/2014/main" id="{ACB78294-2BDB-4477-E390-A7AE5E5F48CB}"/>
              </a:ext>
            </a:extLst>
          </p:cNvPr>
          <p:cNvSpPr>
            <a:spLocks noGrp="1"/>
          </p:cNvSpPr>
          <p:nvPr>
            <p:ph type="title"/>
          </p:nvPr>
        </p:nvSpPr>
        <p:spPr>
          <a:xfrm>
            <a:off x="771525" y="1967266"/>
            <a:ext cx="1971675" cy="2547257"/>
          </a:xfrm>
          <a:noFill/>
        </p:spPr>
        <p:txBody>
          <a:bodyPr vert="horz" lIns="91440" tIns="45720" rIns="91440" bIns="45720" rtlCol="0" anchor="ctr">
            <a:normAutofit/>
          </a:bodyPr>
          <a:lstStyle/>
          <a:p>
            <a:pPr>
              <a:lnSpc>
                <a:spcPct val="90000"/>
              </a:lnSpc>
            </a:pPr>
            <a:r>
              <a:rPr lang="en-US" sz="3100" kern="1200" dirty="0">
                <a:solidFill>
                  <a:srgbClr val="FFFFFF"/>
                </a:solidFill>
                <a:latin typeface="+mj-lt"/>
                <a:ea typeface="+mj-ea"/>
                <a:cs typeface="+mj-cs"/>
              </a:rPr>
              <a:t>The Year in Review</a:t>
            </a:r>
          </a:p>
        </p:txBody>
      </p:sp>
    </p:spTree>
    <p:extLst>
      <p:ext uri="{BB962C8B-B14F-4D97-AF65-F5344CB8AC3E}">
        <p14:creationId xmlns:p14="http://schemas.microsoft.com/office/powerpoint/2010/main" val="41038527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396DA-D0B0-EE8B-1EE0-A5EEB592DA1E}"/>
              </a:ext>
            </a:extLst>
          </p:cNvPr>
          <p:cNvSpPr>
            <a:spLocks noGrp="1"/>
          </p:cNvSpPr>
          <p:nvPr>
            <p:ph type="title"/>
          </p:nvPr>
        </p:nvSpPr>
        <p:spPr/>
        <p:txBody>
          <a:bodyPr/>
          <a:lstStyle/>
          <a:p>
            <a:r>
              <a:rPr lang="en-US" dirty="0"/>
              <a:t>Tire Deflation Devices</a:t>
            </a:r>
          </a:p>
        </p:txBody>
      </p:sp>
      <p:pic>
        <p:nvPicPr>
          <p:cNvPr id="6" name="Content Placeholder 5" descr="A person holding an object in the street&#10;&#10;Description automatically generated">
            <a:extLst>
              <a:ext uri="{FF2B5EF4-FFF2-40B4-BE49-F238E27FC236}">
                <a16:creationId xmlns:a16="http://schemas.microsoft.com/office/drawing/2014/main" id="{10FC91C8-C2F1-3ED4-53B0-B531796F669E}"/>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28563" y="2812378"/>
            <a:ext cx="4385501" cy="2597822"/>
          </a:xfrm>
        </p:spPr>
      </p:pic>
      <p:pic>
        <p:nvPicPr>
          <p:cNvPr id="8" name="Content Placeholder 7" descr="A police officer running on a street&#10;&#10;Description automatically generated">
            <a:extLst>
              <a:ext uri="{FF2B5EF4-FFF2-40B4-BE49-F238E27FC236}">
                <a16:creationId xmlns:a16="http://schemas.microsoft.com/office/drawing/2014/main" id="{348685DA-63E9-7981-7192-D2B03ADAB93B}"/>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851604" y="2769668"/>
            <a:ext cx="3986134" cy="2640532"/>
          </a:xfrm>
        </p:spPr>
      </p:pic>
    </p:spTree>
    <p:extLst>
      <p:ext uri="{BB962C8B-B14F-4D97-AF65-F5344CB8AC3E}">
        <p14:creationId xmlns:p14="http://schemas.microsoft.com/office/powerpoint/2010/main" val="3604566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49CDDA3-CB5F-A1D2-D723-011DADF811FB}"/>
              </a:ext>
            </a:extLst>
          </p:cNvPr>
          <p:cNvSpPr>
            <a:spLocks noGrp="1"/>
          </p:cNvSpPr>
          <p:nvPr>
            <p:ph type="title"/>
          </p:nvPr>
        </p:nvSpPr>
        <p:spPr>
          <a:xfrm>
            <a:off x="480060" y="325369"/>
            <a:ext cx="3276451" cy="1956841"/>
          </a:xfrm>
        </p:spPr>
        <p:txBody>
          <a:bodyPr vert="horz" lIns="91440" tIns="45720" rIns="91440" bIns="45720" rtlCol="0" anchor="b">
            <a:normAutofit/>
          </a:bodyPr>
          <a:lstStyle/>
          <a:p>
            <a:pPr algn="l">
              <a:lnSpc>
                <a:spcPct val="90000"/>
              </a:lnSpc>
            </a:pPr>
            <a:r>
              <a:rPr lang="en-US" sz="4700" dirty="0"/>
              <a:t>TDD Analysis</a:t>
            </a:r>
          </a:p>
        </p:txBody>
      </p:sp>
      <p:sp>
        <p:nvSpPr>
          <p:cNvPr id="24"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2586994"/>
            <a:ext cx="2606040" cy="18288"/>
          </a:xfrm>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 name="connsiteX0" fmla="*/ 0 w 2606040"/>
              <a:gd name="connsiteY0" fmla="*/ 0 h 18288"/>
              <a:gd name="connsiteX1" fmla="*/ 599389 w 2606040"/>
              <a:gd name="connsiteY1" fmla="*/ 0 h 18288"/>
              <a:gd name="connsiteX2" fmla="*/ 1303020 w 2606040"/>
              <a:gd name="connsiteY2" fmla="*/ 0 h 18288"/>
              <a:gd name="connsiteX3" fmla="*/ 1876349 w 2606040"/>
              <a:gd name="connsiteY3" fmla="*/ 0 h 18288"/>
              <a:gd name="connsiteX4" fmla="*/ 2606040 w 2606040"/>
              <a:gd name="connsiteY4" fmla="*/ 0 h 18288"/>
              <a:gd name="connsiteX5" fmla="*/ 2606040 w 2606040"/>
              <a:gd name="connsiteY5" fmla="*/ 18288 h 18288"/>
              <a:gd name="connsiteX6" fmla="*/ 1980590 w 2606040"/>
              <a:gd name="connsiteY6" fmla="*/ 18288 h 18288"/>
              <a:gd name="connsiteX7" fmla="*/ 1276960 w 2606040"/>
              <a:gd name="connsiteY7" fmla="*/ 18288 h 18288"/>
              <a:gd name="connsiteX8" fmla="*/ 65151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6645" y="4461"/>
                  <a:pt x="2607031" y="13181"/>
                  <a:pt x="2606040" y="18288"/>
                </a:cubicBezTo>
                <a:cubicBezTo>
                  <a:pt x="2260204" y="29342"/>
                  <a:pt x="2175708" y="5614"/>
                  <a:pt x="1902409" y="18288"/>
                </a:cubicBezTo>
                <a:cubicBezTo>
                  <a:pt x="1638502" y="41064"/>
                  <a:pt x="1460923" y="-16269"/>
                  <a:pt x="1276960" y="18288"/>
                </a:cubicBezTo>
                <a:cubicBezTo>
                  <a:pt x="1057717" y="14361"/>
                  <a:pt x="867956" y="2320"/>
                  <a:pt x="677570" y="18288"/>
                </a:cubicBezTo>
                <a:cubicBezTo>
                  <a:pt x="457951" y="33373"/>
                  <a:pt x="189752" y="55388"/>
                  <a:pt x="0" y="18288"/>
                </a:cubicBezTo>
                <a:cubicBezTo>
                  <a:pt x="1586" y="13022"/>
                  <a:pt x="-95" y="4569"/>
                  <a:pt x="0" y="0"/>
                </a:cubicBezTo>
                <a:close/>
              </a:path>
              <a:path w="2606040" h="18288"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6314" y="8448"/>
                  <a:pt x="2606550" y="14527"/>
                  <a:pt x="2606040" y="18288"/>
                </a:cubicBezTo>
                <a:cubicBezTo>
                  <a:pt x="2344840" y="2643"/>
                  <a:pt x="2192043" y="7399"/>
                  <a:pt x="1980590" y="18288"/>
                </a:cubicBezTo>
                <a:cubicBezTo>
                  <a:pt x="1783984" y="-9745"/>
                  <a:pt x="1487673" y="45908"/>
                  <a:pt x="1276960" y="18288"/>
                </a:cubicBezTo>
                <a:cubicBezTo>
                  <a:pt x="1088134" y="-41257"/>
                  <a:pt x="877974" y="49968"/>
                  <a:pt x="651510" y="18288"/>
                </a:cubicBezTo>
                <a:cubicBezTo>
                  <a:pt x="430798" y="-27764"/>
                  <a:pt x="132889" y="-33467"/>
                  <a:pt x="0" y="18288"/>
                </a:cubicBezTo>
                <a:cubicBezTo>
                  <a:pt x="212" y="10845"/>
                  <a:pt x="-833" y="6193"/>
                  <a:pt x="0" y="0"/>
                </a:cubicBezTo>
                <a:close/>
              </a:path>
              <a:path w="2606040" h="18288"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6166" y="3680"/>
                  <a:pt x="2606905" y="11461"/>
                  <a:pt x="2606040" y="18288"/>
                </a:cubicBezTo>
                <a:cubicBezTo>
                  <a:pt x="2234648" y="26976"/>
                  <a:pt x="2180202" y="-10361"/>
                  <a:pt x="1902409" y="18288"/>
                </a:cubicBezTo>
                <a:cubicBezTo>
                  <a:pt x="1635562" y="47194"/>
                  <a:pt x="1477339" y="4794"/>
                  <a:pt x="1276960" y="18288"/>
                </a:cubicBezTo>
                <a:cubicBezTo>
                  <a:pt x="1058094" y="66922"/>
                  <a:pt x="904206" y="-20636"/>
                  <a:pt x="677570" y="18288"/>
                </a:cubicBezTo>
                <a:cubicBezTo>
                  <a:pt x="485746" y="14713"/>
                  <a:pt x="195925" y="33005"/>
                  <a:pt x="0" y="18288"/>
                </a:cubicBezTo>
                <a:cubicBezTo>
                  <a:pt x="1168" y="12774"/>
                  <a:pt x="-229" y="374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462" y="4771"/>
                          <a:pt x="2606793" y="12323"/>
                          <a:pt x="2606040" y="18288"/>
                        </a:cubicBezTo>
                        <a:cubicBezTo>
                          <a:pt x="2256758" y="31410"/>
                          <a:pt x="2173673" y="-12878"/>
                          <a:pt x="1902409" y="18288"/>
                        </a:cubicBezTo>
                        <a:cubicBezTo>
                          <a:pt x="1631145" y="49454"/>
                          <a:pt x="1461378" y="5466"/>
                          <a:pt x="1276960" y="18288"/>
                        </a:cubicBezTo>
                        <a:cubicBezTo>
                          <a:pt x="1092542" y="31110"/>
                          <a:pt x="890442" y="13213"/>
                          <a:pt x="677570" y="18288"/>
                        </a:cubicBezTo>
                        <a:cubicBezTo>
                          <a:pt x="464698" y="23364"/>
                          <a:pt x="187648" y="35837"/>
                          <a:pt x="0" y="18288"/>
                        </a:cubicBezTo>
                        <a:cubicBezTo>
                          <a:pt x="841" y="12879"/>
                          <a:pt x="-726" y="3977"/>
                          <a:pt x="0" y="0"/>
                        </a:cubicBezTo>
                        <a:close/>
                      </a:path>
                      <a:path w="2606040" h="18288"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5426" y="8857"/>
                          <a:pt x="2606544" y="13619"/>
                          <a:pt x="2606040" y="18288"/>
                        </a:cubicBezTo>
                        <a:cubicBezTo>
                          <a:pt x="2393024" y="2241"/>
                          <a:pt x="2191161" y="39259"/>
                          <a:pt x="1980590" y="18288"/>
                        </a:cubicBezTo>
                        <a:cubicBezTo>
                          <a:pt x="1770019" y="-2683"/>
                          <a:pt x="1476440" y="36114"/>
                          <a:pt x="1276960" y="18288"/>
                        </a:cubicBezTo>
                        <a:cubicBezTo>
                          <a:pt x="1077480" y="463"/>
                          <a:pt x="880988" y="42125"/>
                          <a:pt x="651510" y="18288"/>
                        </a:cubicBezTo>
                        <a:cubicBezTo>
                          <a:pt x="422032" y="-5549"/>
                          <a:pt x="130744" y="-1947"/>
                          <a:pt x="0" y="18288"/>
                        </a:cubicBezTo>
                        <a:cubicBezTo>
                          <a:pt x="-487" y="10816"/>
                          <a:pt x="-839" y="6058"/>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667F6C3-FA43-615F-F2A8-A5EC56E7C718}"/>
              </a:ext>
            </a:extLst>
          </p:cNvPr>
          <p:cNvSpPr>
            <a:spLocks noGrp="1"/>
          </p:cNvSpPr>
          <p:nvPr>
            <p:ph sz="half" idx="1"/>
          </p:nvPr>
        </p:nvSpPr>
        <p:spPr>
          <a:xfrm>
            <a:off x="480060" y="2872898"/>
            <a:ext cx="3182691" cy="3985101"/>
          </a:xfrm>
        </p:spPr>
        <p:txBody>
          <a:bodyPr vert="horz" lIns="91440" tIns="45720" rIns="91440" bIns="45720" rtlCol="0">
            <a:normAutofit/>
          </a:bodyPr>
          <a:lstStyle/>
          <a:p>
            <a:pPr indent="-228600">
              <a:lnSpc>
                <a:spcPct val="90000"/>
              </a:lnSpc>
            </a:pPr>
            <a:r>
              <a:rPr lang="en-US" sz="1900" dirty="0"/>
              <a:t>Since 1996, the NLEOMF has recorded 46 deaths linked to TDDS.</a:t>
            </a:r>
          </a:p>
          <a:p>
            <a:pPr indent="-228600">
              <a:lnSpc>
                <a:spcPct val="90000"/>
              </a:lnSpc>
            </a:pPr>
            <a:r>
              <a:rPr lang="en-US" sz="1900" dirty="0"/>
              <a:t>In the ten-year case analysis:</a:t>
            </a:r>
          </a:p>
          <a:p>
            <a:pPr lvl="1" indent="-228600">
              <a:lnSpc>
                <a:spcPct val="90000"/>
              </a:lnSpc>
              <a:buFont typeface="Arial" panose="020B0604020202020204" pitchFamily="34" charset="0"/>
              <a:buChar char="•"/>
            </a:pPr>
            <a:r>
              <a:rPr lang="en-US" sz="1900" dirty="0"/>
              <a:t>21 people died (Total)</a:t>
            </a:r>
          </a:p>
          <a:p>
            <a:pPr lvl="1" indent="-228600">
              <a:lnSpc>
                <a:spcPct val="90000"/>
              </a:lnSpc>
              <a:buFont typeface="Arial" panose="020B0604020202020204" pitchFamily="34" charset="0"/>
              <a:buChar char="•"/>
            </a:pPr>
            <a:r>
              <a:rPr lang="en-US" sz="1900" dirty="0"/>
              <a:t>8 officers were injured</a:t>
            </a:r>
          </a:p>
          <a:p>
            <a:pPr lvl="1" indent="-228600">
              <a:lnSpc>
                <a:spcPct val="90000"/>
              </a:lnSpc>
              <a:buFont typeface="Arial" panose="020B0604020202020204" pitchFamily="34" charset="0"/>
              <a:buChar char="•"/>
            </a:pPr>
            <a:r>
              <a:rPr lang="en-US" sz="1900" dirty="0"/>
              <a:t>Numerous vehicles wrecked</a:t>
            </a:r>
          </a:p>
          <a:p>
            <a:pPr lvl="1" indent="-228600">
              <a:lnSpc>
                <a:spcPct val="90000"/>
              </a:lnSpc>
              <a:buFont typeface="Arial" panose="020B0604020202020204" pitchFamily="34" charset="0"/>
              <a:buChar char="•"/>
            </a:pPr>
            <a:r>
              <a:rPr lang="en-US" sz="1900" dirty="0"/>
              <a:t>In 15 of the cases the speeds were reported above 90 MPH</a:t>
            </a:r>
          </a:p>
        </p:txBody>
      </p:sp>
      <p:pic>
        <p:nvPicPr>
          <p:cNvPr id="6" name="Content Placeholder 5" descr="A person running on the road&#10;&#10;Description automatically generated">
            <a:extLst>
              <a:ext uri="{FF2B5EF4-FFF2-40B4-BE49-F238E27FC236}">
                <a16:creationId xmlns:a16="http://schemas.microsoft.com/office/drawing/2014/main" id="{18343B88-13A0-4F4D-0074-B9D68E7ED5ED}"/>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31046" r="30776" b="-1"/>
          <a:stretch/>
        </p:blipFill>
        <p:spPr>
          <a:xfrm>
            <a:off x="3983776" y="10"/>
            <a:ext cx="5159081"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1810277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DC6BEC6B-5C77-412D-B45A-5B0F46FEDA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30E78F-622D-7387-8489-426E27AE3D09}"/>
              </a:ext>
            </a:extLst>
          </p:cNvPr>
          <p:cNvSpPr>
            <a:spLocks noGrp="1"/>
          </p:cNvSpPr>
          <p:nvPr>
            <p:ph type="title"/>
          </p:nvPr>
        </p:nvSpPr>
        <p:spPr>
          <a:xfrm>
            <a:off x="628650" y="176214"/>
            <a:ext cx="7886700" cy="1481188"/>
          </a:xfrm>
        </p:spPr>
        <p:txBody>
          <a:bodyPr vert="horz" lIns="91440" tIns="45720" rIns="91440" bIns="45720" rtlCol="0" anchor="ctr">
            <a:normAutofit/>
          </a:bodyPr>
          <a:lstStyle/>
          <a:p>
            <a:pPr>
              <a:lnSpc>
                <a:spcPct val="90000"/>
              </a:lnSpc>
            </a:pPr>
            <a:r>
              <a:rPr lang="en-US" sz="3500"/>
              <a:t>Recommendations</a:t>
            </a:r>
          </a:p>
        </p:txBody>
      </p:sp>
      <p:sp>
        <p:nvSpPr>
          <p:cNvPr id="3" name="Content Placeholder 2">
            <a:extLst>
              <a:ext uri="{FF2B5EF4-FFF2-40B4-BE49-F238E27FC236}">
                <a16:creationId xmlns:a16="http://schemas.microsoft.com/office/drawing/2014/main" id="{83B06C5A-3BB9-DC33-15A3-C77F30F67786}"/>
              </a:ext>
            </a:extLst>
          </p:cNvPr>
          <p:cNvSpPr>
            <a:spLocks noGrp="1"/>
          </p:cNvSpPr>
          <p:nvPr>
            <p:ph sz="half" idx="1"/>
          </p:nvPr>
        </p:nvSpPr>
        <p:spPr>
          <a:xfrm>
            <a:off x="76200" y="1847128"/>
            <a:ext cx="3962400" cy="4272681"/>
          </a:xfrm>
        </p:spPr>
        <p:txBody>
          <a:bodyPr vert="horz" lIns="91440" tIns="45720" rIns="91440" bIns="45720" rtlCol="0">
            <a:normAutofit/>
          </a:bodyPr>
          <a:lstStyle/>
          <a:p>
            <a:pPr indent="-228600">
              <a:lnSpc>
                <a:spcPct val="90000"/>
              </a:lnSpc>
            </a:pPr>
            <a:r>
              <a:rPr lang="en-US" sz="2400" dirty="0"/>
              <a:t>Follow the training/user guidelines</a:t>
            </a:r>
          </a:p>
          <a:p>
            <a:pPr indent="-228600">
              <a:lnSpc>
                <a:spcPct val="90000"/>
              </a:lnSpc>
            </a:pPr>
            <a:r>
              <a:rPr lang="en-US" sz="2400" dirty="0"/>
              <a:t>Supervisor approves deployment and location</a:t>
            </a:r>
          </a:p>
          <a:p>
            <a:pPr indent="-228600">
              <a:lnSpc>
                <a:spcPct val="90000"/>
              </a:lnSpc>
            </a:pPr>
            <a:r>
              <a:rPr lang="en-US" sz="2400" dirty="0"/>
              <a:t>Preset locations on highways</a:t>
            </a:r>
          </a:p>
          <a:p>
            <a:pPr indent="-228600">
              <a:lnSpc>
                <a:spcPct val="90000"/>
              </a:lnSpc>
            </a:pPr>
            <a:r>
              <a:rPr lang="en-US" sz="2400" dirty="0"/>
              <a:t>Have substantial protection (Not a car)</a:t>
            </a:r>
          </a:p>
          <a:p>
            <a:pPr indent="-228600">
              <a:lnSpc>
                <a:spcPct val="90000"/>
              </a:lnSpc>
            </a:pPr>
            <a:r>
              <a:rPr lang="en-US" sz="2400" dirty="0"/>
              <a:t>Communicate!</a:t>
            </a:r>
          </a:p>
          <a:p>
            <a:pPr marL="0" indent="-228600">
              <a:lnSpc>
                <a:spcPct val="90000"/>
              </a:lnSpc>
            </a:pPr>
            <a:endParaRPr lang="en-US" sz="1700" dirty="0"/>
          </a:p>
        </p:txBody>
      </p:sp>
      <p:pic>
        <p:nvPicPr>
          <p:cNvPr id="6" name="Content Placeholder 5" descr="A guard rail on a road&#10;&#10;Description automatically generated">
            <a:extLst>
              <a:ext uri="{FF2B5EF4-FFF2-40B4-BE49-F238E27FC236}">
                <a16:creationId xmlns:a16="http://schemas.microsoft.com/office/drawing/2014/main" id="{0A151039-FB31-AE30-6138-B1DEC6F823DF}"/>
              </a:ext>
            </a:extLst>
          </p:cNvPr>
          <p:cNvPicPr>
            <a:picLocks noGrp="1" noChangeAspect="1"/>
          </p:cNvPicPr>
          <p:nvPr>
            <p:ph sz="half" idx="2"/>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21402" r="6317" b="1"/>
          <a:stretch/>
        </p:blipFill>
        <p:spPr>
          <a:xfrm>
            <a:off x="3962400" y="1847129"/>
            <a:ext cx="4552948" cy="4272677"/>
          </a:xfrm>
          <a:prstGeom prst="rect">
            <a:avLst/>
          </a:prstGeom>
        </p:spPr>
      </p:pic>
    </p:spTree>
    <p:extLst>
      <p:ext uri="{BB962C8B-B14F-4D97-AF65-F5344CB8AC3E}">
        <p14:creationId xmlns:p14="http://schemas.microsoft.com/office/powerpoint/2010/main" val="5418697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0320CB-63F8-BB3C-CAD5-409A0D0E7FC8}"/>
              </a:ext>
            </a:extLst>
          </p:cNvPr>
          <p:cNvSpPr>
            <a:spLocks noGrp="1"/>
          </p:cNvSpPr>
          <p:nvPr>
            <p:ph type="title"/>
          </p:nvPr>
        </p:nvSpPr>
        <p:spPr/>
        <p:txBody>
          <a:bodyPr/>
          <a:lstStyle/>
          <a:p>
            <a:r>
              <a:rPr lang="en-US" dirty="0"/>
              <a:t>Key Topics in Traffic Safety</a:t>
            </a:r>
          </a:p>
        </p:txBody>
      </p:sp>
      <p:sp>
        <p:nvSpPr>
          <p:cNvPr id="3" name="Text Placeholder 2">
            <a:extLst>
              <a:ext uri="{FF2B5EF4-FFF2-40B4-BE49-F238E27FC236}">
                <a16:creationId xmlns:a16="http://schemas.microsoft.com/office/drawing/2014/main" id="{B515568B-C64E-7967-12A7-1980EB1C25B3}"/>
              </a:ext>
            </a:extLst>
          </p:cNvPr>
          <p:cNvSpPr>
            <a:spLocks noGrp="1"/>
          </p:cNvSpPr>
          <p:nvPr>
            <p:ph type="body" idx="1"/>
          </p:nvPr>
        </p:nvSpPr>
        <p:spPr/>
        <p:txBody>
          <a:bodyPr/>
          <a:lstStyle/>
          <a:p>
            <a:r>
              <a:rPr lang="en-US" dirty="0"/>
              <a:t>Core Concerns</a:t>
            </a:r>
          </a:p>
        </p:txBody>
      </p:sp>
      <p:graphicFrame>
        <p:nvGraphicFramePr>
          <p:cNvPr id="10" name="Content Placeholder 3">
            <a:extLst>
              <a:ext uri="{FF2B5EF4-FFF2-40B4-BE49-F238E27FC236}">
                <a16:creationId xmlns:a16="http://schemas.microsoft.com/office/drawing/2014/main" id="{6896259C-4A6E-490A-3241-0E67C461D6A0}"/>
              </a:ext>
            </a:extLst>
          </p:cNvPr>
          <p:cNvGraphicFramePr>
            <a:graphicFrameLocks noGrp="1"/>
          </p:cNvGraphicFramePr>
          <p:nvPr>
            <p:ph sz="half" idx="2"/>
            <p:extLst>
              <p:ext uri="{D42A27DB-BD31-4B8C-83A1-F6EECF244321}">
                <p14:modId xmlns:p14="http://schemas.microsoft.com/office/powerpoint/2010/main" val="2789036234"/>
              </p:ext>
            </p:extLst>
          </p:nvPr>
        </p:nvGraphicFramePr>
        <p:xfrm>
          <a:off x="457200" y="2666999"/>
          <a:ext cx="4040188" cy="38862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4">
            <a:extLst>
              <a:ext uri="{FF2B5EF4-FFF2-40B4-BE49-F238E27FC236}">
                <a16:creationId xmlns:a16="http://schemas.microsoft.com/office/drawing/2014/main" id="{B108A82D-0ABD-3BBE-88B4-4F4DB59D8F9B}"/>
              </a:ext>
            </a:extLst>
          </p:cNvPr>
          <p:cNvSpPr>
            <a:spLocks noGrp="1"/>
          </p:cNvSpPr>
          <p:nvPr>
            <p:ph type="body" sz="quarter" idx="3"/>
          </p:nvPr>
        </p:nvSpPr>
        <p:spPr/>
        <p:txBody>
          <a:bodyPr/>
          <a:lstStyle/>
          <a:p>
            <a:endParaRPr lang="en-US" dirty="0"/>
          </a:p>
        </p:txBody>
      </p:sp>
      <p:pic>
        <p:nvPicPr>
          <p:cNvPr id="9" name="Content Placeholder 8" descr="A police car and emergency vehicle&#10;&#10;Description automatically generated">
            <a:extLst>
              <a:ext uri="{FF2B5EF4-FFF2-40B4-BE49-F238E27FC236}">
                <a16:creationId xmlns:a16="http://schemas.microsoft.com/office/drawing/2014/main" id="{E91173B6-30BA-CC16-EEB5-D21219AD4D6E}"/>
              </a:ext>
            </a:extLst>
          </p:cNvPr>
          <p:cNvPicPr>
            <a:picLocks noGrp="1" noChangeAspect="1"/>
          </p:cNvPicPr>
          <p:nvPr>
            <p:ph sz="quarter" idx="4"/>
          </p:nvPr>
        </p:nvPicPr>
        <p:blipFill>
          <a:blip r:embed="rId8">
            <a:extLst>
              <a:ext uri="{28A0092B-C50C-407E-A947-70E740481C1C}">
                <a14:useLocalDpi xmlns:a14="http://schemas.microsoft.com/office/drawing/2010/main" val="0"/>
              </a:ext>
            </a:extLst>
          </a:blip>
          <a:stretch>
            <a:fillRect/>
          </a:stretch>
        </p:blipFill>
        <p:spPr>
          <a:xfrm>
            <a:off x="4572000" y="3384952"/>
            <a:ext cx="4270999" cy="2138002"/>
          </a:xfrm>
        </p:spPr>
      </p:pic>
    </p:spTree>
    <p:extLst>
      <p:ext uri="{BB962C8B-B14F-4D97-AF65-F5344CB8AC3E}">
        <p14:creationId xmlns:p14="http://schemas.microsoft.com/office/powerpoint/2010/main" val="27572040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sym typeface="+mn-lt"/>
            </a:endParaRPr>
          </a:p>
        </p:txBody>
      </p:sp>
      <p:sp>
        <p:nvSpPr>
          <p:cNvPr id="2" name="Title 1"/>
          <p:cNvSpPr>
            <a:spLocks noGrp="1"/>
          </p:cNvSpPr>
          <p:nvPr>
            <p:ph type="title"/>
          </p:nvPr>
        </p:nvSpPr>
        <p:spPr>
          <a:xfrm>
            <a:off x="457200" y="762000"/>
            <a:ext cx="8229600" cy="762000"/>
          </a:xfrm>
        </p:spPr>
        <p:txBody>
          <a:bodyPr>
            <a:normAutofit/>
          </a:bodyPr>
          <a:lstStyle/>
          <a:p>
            <a:r>
              <a:rPr lang="en-US" sz="3600" dirty="0"/>
              <a:t>NHTSA Regions</a:t>
            </a: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3744" y="1317057"/>
            <a:ext cx="8696512" cy="5247895"/>
          </a:xfrm>
          <a:prstGeom prst="rect">
            <a:avLst/>
          </a:prstGeom>
        </p:spPr>
      </p:pic>
      <p:sp>
        <p:nvSpPr>
          <p:cNvPr id="4" name="Oval 3">
            <a:extLst>
              <a:ext uri="{FF2B5EF4-FFF2-40B4-BE49-F238E27FC236}">
                <a16:creationId xmlns:a16="http://schemas.microsoft.com/office/drawing/2014/main" id="{AD17F9F3-813F-79CA-173A-292646709730}"/>
              </a:ext>
            </a:extLst>
          </p:cNvPr>
          <p:cNvSpPr/>
          <p:nvPr/>
        </p:nvSpPr>
        <p:spPr>
          <a:xfrm>
            <a:off x="5680365" y="4191000"/>
            <a:ext cx="2667000" cy="2263942"/>
          </a:xfrm>
          <a:prstGeom prst="ellipse">
            <a:avLst/>
          </a:prstGeom>
          <a:noFill/>
          <a:ln>
            <a:solidFill>
              <a:srgbClr val="A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13652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text, application&#10;&#10;Description automatically generated">
            <a:extLst>
              <a:ext uri="{FF2B5EF4-FFF2-40B4-BE49-F238E27FC236}">
                <a16:creationId xmlns:a16="http://schemas.microsoft.com/office/drawing/2014/main" id="{C3483341-2267-42B6-B2AA-6850B1C18E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59066"/>
            <a:ext cx="9144000" cy="5739867"/>
          </a:xfrm>
          <a:prstGeom prst="rect">
            <a:avLst/>
          </a:prstGeom>
        </p:spPr>
      </p:pic>
    </p:spTree>
    <p:extLst>
      <p:ext uri="{BB962C8B-B14F-4D97-AF65-F5344CB8AC3E}">
        <p14:creationId xmlns:p14="http://schemas.microsoft.com/office/powerpoint/2010/main" val="25787164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Content Placeholder 2"/>
          <p:cNvSpPr>
            <a:spLocks noGrp="1"/>
          </p:cNvSpPr>
          <p:nvPr>
            <p:ph idx="1"/>
          </p:nvPr>
        </p:nvSpPr>
        <p:spPr>
          <a:xfrm>
            <a:off x="457200" y="1752600"/>
            <a:ext cx="8229600" cy="4571999"/>
          </a:xfrm>
        </p:spPr>
        <p:txBody>
          <a:bodyPr>
            <a:normAutofit lnSpcReduction="10000"/>
          </a:bodyPr>
          <a:lstStyle/>
          <a:p>
            <a:pPr>
              <a:buFont typeface="Georgia" pitchFamily="18" charset="0"/>
              <a:buNone/>
            </a:pPr>
            <a:r>
              <a:rPr lang="en-US" sz="2600" b="1" dirty="0"/>
              <a:t>For more information:</a:t>
            </a:r>
          </a:p>
          <a:p>
            <a:pPr>
              <a:buFont typeface="Georgia" pitchFamily="18" charset="0"/>
              <a:buNone/>
            </a:pPr>
            <a:r>
              <a:rPr lang="en-US" sz="2600" b="1" dirty="0"/>
              <a:t>		</a:t>
            </a:r>
          </a:p>
          <a:p>
            <a:pPr>
              <a:buFont typeface="Georgia" pitchFamily="18" charset="0"/>
              <a:buNone/>
            </a:pPr>
            <a:r>
              <a:rPr lang="en-US" sz="2600" b="1" dirty="0"/>
              <a:t>Nick Breul</a:t>
            </a:r>
          </a:p>
          <a:p>
            <a:pPr>
              <a:buFont typeface="Georgia" pitchFamily="18" charset="0"/>
              <a:buNone/>
            </a:pPr>
            <a:r>
              <a:rPr lang="en-US" sz="2600" b="1" dirty="0"/>
              <a:t>(202) 365-6743</a:t>
            </a:r>
          </a:p>
          <a:p>
            <a:pPr>
              <a:buFont typeface="Georgia" pitchFamily="18" charset="0"/>
              <a:buNone/>
            </a:pPr>
            <a:r>
              <a:rPr lang="en-US" sz="4000" b="1" u="sng" dirty="0">
                <a:solidFill>
                  <a:srgbClr val="0000FF"/>
                </a:solidFill>
                <a:hlinkClick r:id="rId3"/>
              </a:rPr>
              <a:t>nbreul@nleomf.org</a:t>
            </a:r>
            <a:endParaRPr lang="en-US" sz="4000" b="1" u="sng" dirty="0">
              <a:solidFill>
                <a:srgbClr val="0000FF"/>
              </a:solidFill>
            </a:endParaRPr>
          </a:p>
          <a:p>
            <a:pPr>
              <a:buFont typeface="Georgia" pitchFamily="18" charset="0"/>
              <a:buNone/>
            </a:pPr>
            <a:endParaRPr lang="en-US" sz="2600" b="1" u="sng" dirty="0">
              <a:solidFill>
                <a:srgbClr val="0000FF"/>
              </a:solidFill>
            </a:endParaRPr>
          </a:p>
          <a:p>
            <a:pPr>
              <a:buFont typeface="Georgia" pitchFamily="18" charset="0"/>
              <a:buNone/>
            </a:pPr>
            <a:r>
              <a:rPr lang="en-US" sz="2600" b="1" u="sng" dirty="0">
                <a:solidFill>
                  <a:srgbClr val="0000FF"/>
                </a:solidFill>
              </a:rPr>
              <a:t>www.LawMemorial.org</a:t>
            </a:r>
            <a:br>
              <a:rPr lang="en-US" b="1" u="sng" dirty="0">
                <a:solidFill>
                  <a:srgbClr val="0000FF"/>
                </a:solidFill>
              </a:rPr>
            </a:br>
            <a:br>
              <a:rPr lang="en-US" b="1" dirty="0"/>
            </a:br>
            <a:endParaRPr lang="en-US" b="1" dirty="0"/>
          </a:p>
        </p:txBody>
      </p:sp>
      <p:sp>
        <p:nvSpPr>
          <p:cNvPr id="2" name="Title 1"/>
          <p:cNvSpPr>
            <a:spLocks noGrp="1"/>
          </p:cNvSpPr>
          <p:nvPr>
            <p:ph type="title"/>
          </p:nvPr>
        </p:nvSpPr>
        <p:spPr>
          <a:xfrm>
            <a:off x="502328" y="838200"/>
            <a:ext cx="8229600" cy="731520"/>
          </a:xfrm>
        </p:spPr>
        <p:txBody>
          <a:bodyPr>
            <a:normAutofit/>
          </a:bodyPr>
          <a:lstStyle/>
          <a:p>
            <a:pPr>
              <a:defRPr/>
            </a:pPr>
            <a:r>
              <a:rPr lang="en-US" sz="3200" b="1" dirty="0"/>
              <a:t>Questions?</a:t>
            </a:r>
          </a:p>
        </p:txBody>
      </p:sp>
      <p:sp>
        <p:nvSpPr>
          <p:cNvPr id="5" name="Slide Number Placeholder 4"/>
          <p:cNvSpPr>
            <a:spLocks noGrp="1"/>
          </p:cNvSpPr>
          <p:nvPr>
            <p:ph type="sldNum" sz="quarter" idx="12"/>
          </p:nvPr>
        </p:nvSpPr>
        <p:spPr/>
        <p:txBody>
          <a:bodyPr/>
          <a:lstStyle/>
          <a:p>
            <a:fld id="{4F28521B-273C-4B39-98D0-5F290D58E4B1}" type="slidenum">
              <a:rPr lang="en-US" smtClean="0"/>
              <a:pPr/>
              <a:t>26</a:t>
            </a:fld>
            <a:endParaRPr lang="en-US"/>
          </a:p>
        </p:txBody>
      </p:sp>
      <p:sp>
        <p:nvSpPr>
          <p:cNvPr id="49156" name="TextBox 3"/>
          <p:cNvSpPr txBox="1">
            <a:spLocks noChangeArrowheads="1"/>
          </p:cNvSpPr>
          <p:nvPr/>
        </p:nvSpPr>
        <p:spPr bwMode="auto">
          <a:xfrm>
            <a:off x="0" y="6519863"/>
            <a:ext cx="533400" cy="338137"/>
          </a:xfrm>
          <a:prstGeom prst="rect">
            <a:avLst/>
          </a:prstGeom>
          <a:noFill/>
          <a:ln w="9525">
            <a:noFill/>
            <a:miter lim="800000"/>
            <a:headEnd/>
            <a:tailEnd/>
          </a:ln>
        </p:spPr>
        <p:txBody>
          <a:bodyPr>
            <a:spAutoFit/>
          </a:bodyPr>
          <a:lstStyle/>
          <a:p>
            <a:r>
              <a:rPr lang="en-US" sz="1600">
                <a:solidFill>
                  <a:schemeClr val="bg1"/>
                </a:solidFill>
                <a:latin typeface="Calibri" pitchFamily="34" charset="0"/>
              </a:rPr>
              <a:t>38</a:t>
            </a:r>
          </a:p>
        </p:txBody>
      </p:sp>
    </p:spTree>
    <p:extLst>
      <p:ext uri="{BB962C8B-B14F-4D97-AF65-F5344CB8AC3E}">
        <p14:creationId xmlns:p14="http://schemas.microsoft.com/office/powerpoint/2010/main" val="30011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A4E37431-20F0-4DD6-84A9-ED2B644943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AE98B72-66C6-4AB4-AF0D-BA830DE863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336136" y="1336710"/>
            <a:ext cx="6858000" cy="418458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07EAFC6-733F-403D-BB4D-05A3A2874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088181" y="1092216"/>
            <a:ext cx="6346209" cy="4182060"/>
          </a:xfrm>
          <a:prstGeom prst="rect">
            <a:avLst/>
          </a:prstGeom>
          <a:gradFill>
            <a:gsLst>
              <a:gs pos="0">
                <a:srgbClr val="000000">
                  <a:alpha val="0"/>
                </a:srgbClr>
              </a:gs>
              <a:gs pos="99000">
                <a:schemeClr val="accent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7A36730-4CB0-4F61-AD11-A44C976583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833933" y="3515977"/>
            <a:ext cx="2501979" cy="4182060"/>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C69C79E1-F916-4929-A4F3-DE763D4BFA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176002" y="1496845"/>
            <a:ext cx="6858001" cy="3864309"/>
          </a:xfrm>
          <a:prstGeom prst="rect">
            <a:avLst/>
          </a:prstGeom>
          <a:gradFill>
            <a:gsLst>
              <a:gs pos="0">
                <a:srgbClr val="000000">
                  <a:alpha val="0"/>
                </a:srgbClr>
              </a:gs>
              <a:gs pos="99000">
                <a:schemeClr val="accent1">
                  <a:alpha val="11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67334AB-16BD-4EC7-8C6B-4B51716009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277" y="1668285"/>
            <a:ext cx="4318303" cy="3238727"/>
          </a:xfrm>
          <a:prstGeom prst="ellipse">
            <a:avLst/>
          </a:prstGeom>
          <a:gradFill>
            <a:gsLst>
              <a:gs pos="39000">
                <a:schemeClr val="accent1">
                  <a:alpha val="0"/>
                </a:schemeClr>
              </a:gs>
              <a:gs pos="100000">
                <a:schemeClr val="accent1">
                  <a:lumMod val="60000"/>
                  <a:lumOff val="40000"/>
                  <a:alpha val="1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F256ACA-13B9-BAF5-FA51-E0DECA864D60}"/>
              </a:ext>
            </a:extLst>
          </p:cNvPr>
          <p:cNvSpPr>
            <a:spLocks noGrp="1"/>
          </p:cNvSpPr>
          <p:nvPr>
            <p:ph type="title"/>
          </p:nvPr>
        </p:nvSpPr>
        <p:spPr>
          <a:xfrm>
            <a:off x="495031" y="891652"/>
            <a:ext cx="3309016" cy="3030724"/>
          </a:xfrm>
        </p:spPr>
        <p:txBody>
          <a:bodyPr vert="horz" lIns="91440" tIns="45720" rIns="91440" bIns="45720" rtlCol="0" anchor="b">
            <a:normAutofit/>
          </a:bodyPr>
          <a:lstStyle/>
          <a:p>
            <a:pPr algn="r">
              <a:lnSpc>
                <a:spcPct val="90000"/>
              </a:lnSpc>
            </a:pPr>
            <a:r>
              <a:rPr lang="en-US" sz="3500" kern="1200">
                <a:solidFill>
                  <a:srgbClr val="FFFFFF"/>
                </a:solidFill>
                <a:latin typeface="+mj-lt"/>
                <a:ea typeface="+mj-ea"/>
                <a:cs typeface="+mj-cs"/>
              </a:rPr>
              <a:t>End of Year Report</a:t>
            </a:r>
          </a:p>
        </p:txBody>
      </p:sp>
      <p:pic>
        <p:nvPicPr>
          <p:cNvPr id="5" name="Content Placeholder 4" descr="A hand holding a candle&#10;&#10;Description automatically generated">
            <a:extLst>
              <a:ext uri="{FF2B5EF4-FFF2-40B4-BE49-F238E27FC236}">
                <a16:creationId xmlns:a16="http://schemas.microsoft.com/office/drawing/2014/main" id="{24DEAB3C-0FB2-BFB0-6BD1-B0481F6CF27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0" y="794203"/>
            <a:ext cx="4206240" cy="5225143"/>
          </a:xfrm>
          <a:prstGeom prst="rect">
            <a:avLst/>
          </a:prstGeom>
        </p:spPr>
      </p:pic>
    </p:spTree>
    <p:extLst>
      <p:ext uri="{BB962C8B-B14F-4D97-AF65-F5344CB8AC3E}">
        <p14:creationId xmlns:p14="http://schemas.microsoft.com/office/powerpoint/2010/main" val="519444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922632" y="1922631"/>
            <a:ext cx="6875818" cy="3030558"/>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63321" y="3165298"/>
            <a:ext cx="4355594" cy="3028952"/>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742858" y="2085760"/>
            <a:ext cx="6857572" cy="268605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1161554" y="1712395"/>
            <a:ext cx="4808302" cy="3066500"/>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15313250-C28D-9546-6086-CC082CE31C71}"/>
              </a:ext>
            </a:extLst>
          </p:cNvPr>
          <p:cNvSpPr>
            <a:spLocks noGrp="1"/>
          </p:cNvSpPr>
          <p:nvPr>
            <p:ph type="title"/>
          </p:nvPr>
        </p:nvSpPr>
        <p:spPr>
          <a:xfrm>
            <a:off x="495030" y="2767106"/>
            <a:ext cx="2160621" cy="3071906"/>
          </a:xfrm>
        </p:spPr>
        <p:txBody>
          <a:bodyPr vert="horz" lIns="91440" tIns="45720" rIns="91440" bIns="45720" rtlCol="0" anchor="t">
            <a:normAutofit/>
          </a:bodyPr>
          <a:lstStyle/>
          <a:p>
            <a:pPr algn="l">
              <a:lnSpc>
                <a:spcPct val="90000"/>
              </a:lnSpc>
            </a:pPr>
            <a:r>
              <a:rPr lang="en-US" sz="3500" kern="1200" dirty="0">
                <a:solidFill>
                  <a:srgbClr val="FFFFFF"/>
                </a:solidFill>
                <a:latin typeface="+mj-lt"/>
                <a:ea typeface="+mj-ea"/>
                <a:cs typeface="+mj-cs"/>
              </a:rPr>
              <a:t>Report on Tire Deflation Devices</a:t>
            </a:r>
          </a:p>
        </p:txBody>
      </p:sp>
      <p:pic>
        <p:nvPicPr>
          <p:cNvPr id="5" name="Content Placeholder 4" descr="A person in a yellow shirt&#10;&#10;Description automatically generated">
            <a:extLst>
              <a:ext uri="{FF2B5EF4-FFF2-40B4-BE49-F238E27FC236}">
                <a16:creationId xmlns:a16="http://schemas.microsoft.com/office/drawing/2014/main" id="{AA405FC7-B717-B35D-D1B8-94D25A930D6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76821" y="546388"/>
            <a:ext cx="5419311" cy="5765224"/>
          </a:xfrm>
          <a:prstGeom prst="rect">
            <a:avLst/>
          </a:prstGeom>
        </p:spPr>
      </p:pic>
    </p:spTree>
    <p:extLst>
      <p:ext uri="{BB962C8B-B14F-4D97-AF65-F5344CB8AC3E}">
        <p14:creationId xmlns:p14="http://schemas.microsoft.com/office/powerpoint/2010/main" val="10601492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304801"/>
            <a:ext cx="8408193" cy="1584323"/>
          </a:xfrm>
        </p:spPr>
        <p:txBody>
          <a:bodyPr vert="horz" lIns="91440" tIns="45720" rIns="91440" bIns="45720" rtlCol="0" anchor="ctr">
            <a:normAutofit/>
          </a:bodyPr>
          <a:lstStyle/>
          <a:p>
            <a:pPr>
              <a:lnSpc>
                <a:spcPct val="90000"/>
              </a:lnSpc>
              <a:defRPr/>
            </a:pPr>
            <a:r>
              <a:rPr lang="en-US" sz="1500" b="1" kern="1200" dirty="0">
                <a:solidFill>
                  <a:schemeClr val="bg1"/>
                </a:solidFill>
                <a:latin typeface="+mj-lt"/>
                <a:ea typeface="+mj-ea"/>
                <a:cs typeface="+mj-cs"/>
              </a:rPr>
              <a:t>Law Enforcement Officer Fatalities:</a:t>
            </a:r>
            <a:br>
              <a:rPr lang="en-US" sz="1500" b="1" kern="1200" dirty="0">
                <a:solidFill>
                  <a:schemeClr val="bg1"/>
                </a:solidFill>
                <a:latin typeface="+mj-lt"/>
                <a:ea typeface="+mj-ea"/>
                <a:cs typeface="+mj-cs"/>
              </a:rPr>
            </a:br>
            <a:r>
              <a:rPr lang="en-US" sz="1500" b="1" kern="1200" dirty="0">
                <a:solidFill>
                  <a:schemeClr val="bg1"/>
                </a:solidFill>
                <a:latin typeface="+mj-lt"/>
                <a:ea typeface="+mj-ea"/>
                <a:cs typeface="+mj-cs"/>
              </a:rPr>
              <a:t>2022 vs 2023</a:t>
            </a:r>
            <a:br>
              <a:rPr lang="en-US" sz="1500" b="1" kern="1200" dirty="0">
                <a:solidFill>
                  <a:schemeClr val="bg1"/>
                </a:solidFill>
                <a:latin typeface="+mj-lt"/>
                <a:ea typeface="+mj-ea"/>
                <a:cs typeface="+mj-cs"/>
              </a:rPr>
            </a:br>
            <a:r>
              <a:rPr lang="en-US" sz="1500" b="1" kern="1200" dirty="0">
                <a:solidFill>
                  <a:schemeClr val="bg1"/>
                </a:solidFill>
                <a:latin typeface="+mj-lt"/>
                <a:ea typeface="+mj-ea"/>
                <a:cs typeface="+mj-cs"/>
              </a:rPr>
              <a:t>(2023 figures based on preliminary reports)</a:t>
            </a:r>
          </a:p>
        </p:txBody>
      </p:sp>
      <p:sp>
        <p:nvSpPr>
          <p:cNvPr id="6" name="Slide Number Placeholder 3"/>
          <p:cNvSpPr>
            <a:spLocks noGrp="1"/>
          </p:cNvSpPr>
          <p:nvPr>
            <p:ph type="sldNum" sz="quarter" idx="12"/>
          </p:nvPr>
        </p:nvSpPr>
        <p:spPr>
          <a:xfrm>
            <a:off x="6457950" y="6356350"/>
            <a:ext cx="2057400" cy="365125"/>
          </a:xfrm>
        </p:spPr>
        <p:txBody>
          <a:bodyPr vert="horz" lIns="91440" tIns="45720" rIns="91440" bIns="45720" rtlCol="0" anchor="ctr">
            <a:normAutofit/>
          </a:bodyPr>
          <a:lstStyle/>
          <a:p>
            <a:pPr>
              <a:spcAft>
                <a:spcPts val="600"/>
              </a:spcAft>
            </a:pPr>
            <a:fld id="{4F28521B-273C-4B39-98D0-5F290D58E4B1}" type="slidenum">
              <a:rPr lang="en-US"/>
              <a:pPr>
                <a:spcAft>
                  <a:spcPts val="600"/>
                </a:spcAft>
              </a:pPr>
              <a:t>5</a:t>
            </a:fld>
            <a:endParaRPr lang="en-US"/>
          </a:p>
        </p:txBody>
      </p:sp>
      <p:sp>
        <p:nvSpPr>
          <p:cNvPr id="7" name="Slide Number Placeholder 3"/>
          <p:cNvSpPr txBox="1">
            <a:spLocks/>
          </p:cNvSpPr>
          <p:nvPr/>
        </p:nvSpPr>
        <p:spPr>
          <a:xfrm>
            <a:off x="0" y="6337300"/>
            <a:ext cx="609600" cy="520700"/>
          </a:xfrm>
          <a:prstGeom prst="rect">
            <a:avLst/>
          </a:prstGeom>
        </p:spPr>
        <p:txBody>
          <a:bodyPr/>
          <a:lstStyle/>
          <a:p>
            <a:pPr marL="0" marR="0" lvl="0" indent="0" algn="l" defTabSz="914400" rtl="0" eaLnBrk="1" fontAlgn="base" latinLnBrk="0" hangingPunct="1">
              <a:lnSpc>
                <a:spcPct val="100000"/>
              </a:lnSpc>
              <a:spcBef>
                <a:spcPct val="0"/>
              </a:spcBef>
              <a:spcAft>
                <a:spcPts val="600"/>
              </a:spcAft>
              <a:buClrTx/>
              <a:buSzTx/>
              <a:buFontTx/>
              <a:buNone/>
              <a:tabLst/>
              <a:defRPr/>
            </a:pPr>
            <a:fld id="{4F28521B-273C-4B39-98D0-5F290D58E4B1}" type="slidenum">
              <a:rPr kumimoji="0" lang="en-US" sz="1800" b="1" i="0" u="none" strike="noStrike" kern="1200" cap="none" spc="0" normalizeH="0" baseline="0" noProof="0" smtClean="0">
                <a:ln>
                  <a:noFill/>
                </a:ln>
                <a:solidFill>
                  <a:schemeClr val="bg1"/>
                </a:solidFill>
                <a:effectLst/>
                <a:uLnTx/>
                <a:uFillTx/>
                <a:latin typeface="+mn-lt"/>
                <a:ea typeface="+mn-ea"/>
                <a:cs typeface="Arial" charset="0"/>
              </a:rPr>
              <a:pPr marL="0" marR="0" lvl="0" indent="0" algn="l" defTabSz="914400" rtl="0" eaLnBrk="1" fontAlgn="base" latinLnBrk="0" hangingPunct="1">
                <a:lnSpc>
                  <a:spcPct val="100000"/>
                </a:lnSpc>
                <a:spcBef>
                  <a:spcPct val="0"/>
                </a:spcBef>
                <a:spcAft>
                  <a:spcPts val="600"/>
                </a:spcAft>
                <a:buClrTx/>
                <a:buSzTx/>
                <a:buFontTx/>
                <a:buNone/>
                <a:tabLst/>
                <a:defRPr/>
              </a:pPr>
              <a:t>5</a:t>
            </a:fld>
            <a:endParaRPr kumimoji="0" lang="en-US" sz="1800" b="1" i="0" u="none" strike="noStrike" kern="1200" cap="none" spc="0" normalizeH="0" baseline="0" noProof="0">
              <a:ln>
                <a:noFill/>
              </a:ln>
              <a:solidFill>
                <a:schemeClr val="bg1"/>
              </a:solidFill>
              <a:effectLst/>
              <a:uLnTx/>
              <a:uFillTx/>
              <a:latin typeface="+mn-lt"/>
              <a:ea typeface="+mn-ea"/>
              <a:cs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57181897"/>
              </p:ext>
            </p:extLst>
          </p:nvPr>
        </p:nvGraphicFramePr>
        <p:xfrm>
          <a:off x="594115" y="2057400"/>
          <a:ext cx="7955771" cy="4495799"/>
        </p:xfrm>
        <a:graphic>
          <a:graphicData uri="http://schemas.openxmlformats.org/drawingml/2006/table">
            <a:tbl>
              <a:tblPr>
                <a:solidFill>
                  <a:schemeClr val="accent1">
                    <a:lumMod val="20000"/>
                    <a:lumOff val="80000"/>
                  </a:schemeClr>
                </a:solidFill>
              </a:tblPr>
              <a:tblGrid>
                <a:gridCol w="3292085">
                  <a:extLst>
                    <a:ext uri="{9D8B030D-6E8A-4147-A177-3AD203B41FA5}">
                      <a16:colId xmlns:a16="http://schemas.microsoft.com/office/drawing/2014/main" val="20000"/>
                    </a:ext>
                  </a:extLst>
                </a:gridCol>
                <a:gridCol w="1225791">
                  <a:extLst>
                    <a:ext uri="{9D8B030D-6E8A-4147-A177-3AD203B41FA5}">
                      <a16:colId xmlns:a16="http://schemas.microsoft.com/office/drawing/2014/main" val="20001"/>
                    </a:ext>
                  </a:extLst>
                </a:gridCol>
                <a:gridCol w="1345916">
                  <a:extLst>
                    <a:ext uri="{9D8B030D-6E8A-4147-A177-3AD203B41FA5}">
                      <a16:colId xmlns:a16="http://schemas.microsoft.com/office/drawing/2014/main" val="20002"/>
                    </a:ext>
                  </a:extLst>
                </a:gridCol>
                <a:gridCol w="2091979">
                  <a:extLst>
                    <a:ext uri="{9D8B030D-6E8A-4147-A177-3AD203B41FA5}">
                      <a16:colId xmlns:a16="http://schemas.microsoft.com/office/drawing/2014/main" val="20003"/>
                    </a:ext>
                  </a:extLst>
                </a:gridCol>
              </a:tblGrid>
              <a:tr h="77983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3000" b="0" i="0" u="none" strike="noStrike" cap="none" spc="0" normalizeH="0" baseline="0" dirty="0">
                          <a:ln>
                            <a:noFill/>
                          </a:ln>
                          <a:solidFill>
                            <a:schemeClr val="tx1"/>
                          </a:solidFill>
                          <a:effectLst/>
                          <a:latin typeface="Calibri" pitchFamily="34" charset="0"/>
                        </a:rPr>
                        <a:t>YTD</a:t>
                      </a:r>
                    </a:p>
                  </a:txBody>
                  <a:tcPr marL="173279" marR="173279" marT="86639" marB="173279" anchor="b"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sng" strike="noStrike" cap="none" spc="0" normalizeH="0" baseline="0" dirty="0">
                          <a:ln>
                            <a:noFill/>
                          </a:ln>
                          <a:solidFill>
                            <a:schemeClr val="tx1"/>
                          </a:solidFill>
                          <a:effectLst/>
                          <a:latin typeface="Calibri" pitchFamily="34" charset="0"/>
                        </a:rPr>
                        <a:t>2022</a:t>
                      </a:r>
                      <a:endParaRPr kumimoji="0" lang="en-US" sz="3000" b="0" i="0" u="none" strike="noStrike" cap="none" spc="0" normalizeH="0" baseline="0" dirty="0">
                        <a:ln>
                          <a:noFill/>
                        </a:ln>
                        <a:solidFill>
                          <a:schemeClr val="tx1"/>
                        </a:solidFill>
                        <a:effectLst/>
                        <a:latin typeface="Calibri" pitchFamily="34" charset="0"/>
                      </a:endParaRP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sng" strike="noStrike" cap="none" spc="0" normalizeH="0" baseline="0" dirty="0">
                          <a:ln>
                            <a:noFill/>
                          </a:ln>
                          <a:solidFill>
                            <a:schemeClr val="tx1"/>
                          </a:solidFill>
                          <a:effectLst/>
                          <a:latin typeface="Calibri" pitchFamily="34" charset="0"/>
                        </a:rPr>
                        <a:t>2023</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sng" strike="noStrike" cap="none" spc="0" normalizeH="0" baseline="0">
                          <a:ln>
                            <a:noFill/>
                          </a:ln>
                          <a:solidFill>
                            <a:schemeClr val="tx1"/>
                          </a:solidFill>
                          <a:effectLst/>
                          <a:latin typeface="Calibri" pitchFamily="34" charset="0"/>
                        </a:rPr>
                        <a:t>% Change</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extLst>
                  <a:ext uri="{0D108BD9-81ED-4DB2-BD59-A6C34878D82A}">
                    <a16:rowId xmlns:a16="http://schemas.microsoft.com/office/drawing/2014/main" val="10000"/>
                  </a:ext>
                </a:extLst>
              </a:tr>
              <a:tr h="779835">
                <a:tc>
                  <a:txBody>
                    <a:bodyPr/>
                    <a:lstStyle/>
                    <a:p>
                      <a:pPr marL="0" marR="0" lvl="0" indent="0" algn="l"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a:ln>
                            <a:noFill/>
                          </a:ln>
                          <a:solidFill>
                            <a:schemeClr val="tx1"/>
                          </a:solidFill>
                          <a:effectLst/>
                          <a:latin typeface="Calibri" pitchFamily="34" charset="0"/>
                        </a:rPr>
                        <a:t>Total Fatalities</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224</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136</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39%</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extLst>
                  <a:ext uri="{0D108BD9-81ED-4DB2-BD59-A6C34878D82A}">
                    <a16:rowId xmlns:a16="http://schemas.microsoft.com/office/drawing/2014/main" val="10001"/>
                  </a:ext>
                </a:extLst>
              </a:tr>
              <a:tr h="779835">
                <a:tc>
                  <a:txBody>
                    <a:bodyPr/>
                    <a:lstStyle/>
                    <a:p>
                      <a:pPr marL="0" marR="0" lvl="0" indent="0" algn="l"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a:ln>
                            <a:noFill/>
                          </a:ln>
                          <a:solidFill>
                            <a:schemeClr val="tx1"/>
                          </a:solidFill>
                          <a:effectLst/>
                          <a:latin typeface="Calibri" pitchFamily="34" charset="0"/>
                        </a:rPr>
                        <a:t>Firearms-related</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63</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47</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25%</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extLst>
                  <a:ext uri="{0D108BD9-81ED-4DB2-BD59-A6C34878D82A}">
                    <a16:rowId xmlns:a16="http://schemas.microsoft.com/office/drawing/2014/main" val="10002"/>
                  </a:ext>
                </a:extLst>
              </a:tr>
              <a:tr h="779835">
                <a:tc>
                  <a:txBody>
                    <a:bodyPr/>
                    <a:lstStyle/>
                    <a:p>
                      <a:pPr marL="0" marR="0" lvl="0" indent="0" algn="l"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a:ln>
                            <a:noFill/>
                          </a:ln>
                          <a:solidFill>
                            <a:schemeClr val="tx1"/>
                          </a:solidFill>
                          <a:effectLst/>
                          <a:latin typeface="Calibri" pitchFamily="34" charset="0"/>
                        </a:rPr>
                        <a:t>Traffic-related</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51</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37</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27%</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extLst>
                  <a:ext uri="{0D108BD9-81ED-4DB2-BD59-A6C34878D82A}">
                    <a16:rowId xmlns:a16="http://schemas.microsoft.com/office/drawing/2014/main" val="10003"/>
                  </a:ext>
                </a:extLst>
              </a:tr>
              <a:tr h="1376459">
                <a:tc>
                  <a:txBody>
                    <a:bodyPr/>
                    <a:lstStyle/>
                    <a:p>
                      <a:pPr marL="0" marR="0" lvl="0" indent="0" algn="l"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Other Causes</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110</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52</a:t>
                      </a: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tc>
                  <a:txBody>
                    <a:bodyPr/>
                    <a:lstStyle/>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r>
                        <a:rPr kumimoji="0" lang="en-US" sz="3000" b="0" i="0" u="none" strike="noStrike" cap="none" spc="0" normalizeH="0" baseline="0" dirty="0">
                          <a:ln>
                            <a:noFill/>
                          </a:ln>
                          <a:solidFill>
                            <a:schemeClr val="tx1"/>
                          </a:solidFill>
                          <a:effectLst/>
                          <a:latin typeface="Calibri" pitchFamily="34" charset="0"/>
                        </a:rPr>
                        <a:t>-53%</a:t>
                      </a:r>
                    </a:p>
                    <a:p>
                      <a:pPr marL="0" marR="0" lvl="0" indent="0" algn="r" defTabSz="914400" rtl="0" eaLnBrk="0" fontAlgn="base" latinLnBrk="0" hangingPunct="0">
                        <a:lnSpc>
                          <a:spcPct val="100000"/>
                        </a:lnSpc>
                        <a:spcBef>
                          <a:spcPct val="20000"/>
                        </a:spcBef>
                        <a:spcAft>
                          <a:spcPct val="0"/>
                        </a:spcAft>
                        <a:buClr>
                          <a:schemeClr val="hlink"/>
                        </a:buClr>
                        <a:buSzPct val="70000"/>
                        <a:buFont typeface="Wingdings" pitchFamily="2" charset="2"/>
                        <a:buNone/>
                        <a:tabLst/>
                      </a:pPr>
                      <a:endParaRPr kumimoji="0" lang="en-US" sz="3000" b="0" i="0" u="none" strike="noStrike" cap="none" spc="0" normalizeH="0" baseline="0" dirty="0">
                        <a:ln>
                          <a:noFill/>
                        </a:ln>
                        <a:solidFill>
                          <a:schemeClr val="tx1"/>
                        </a:solidFill>
                        <a:effectLst/>
                        <a:latin typeface="Calibri" pitchFamily="34" charset="0"/>
                      </a:endParaRPr>
                    </a:p>
                  </a:txBody>
                  <a:tcPr marL="173279" marR="173279" marT="86639" marB="173279"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246615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36F33-7688-6DB6-859D-BF7D12A47613}"/>
              </a:ext>
            </a:extLst>
          </p:cNvPr>
          <p:cNvSpPr>
            <a:spLocks noGrp="1"/>
          </p:cNvSpPr>
          <p:nvPr>
            <p:ph type="title"/>
          </p:nvPr>
        </p:nvSpPr>
        <p:spPr>
          <a:xfrm>
            <a:off x="360759" y="3752849"/>
            <a:ext cx="2468166" cy="2452687"/>
          </a:xfrm>
        </p:spPr>
        <p:txBody>
          <a:bodyPr vert="horz" lIns="91440" tIns="45720" rIns="91440" bIns="45720" rtlCol="0" anchor="ctr">
            <a:normAutofit/>
          </a:bodyPr>
          <a:lstStyle/>
          <a:p>
            <a:pPr algn="l">
              <a:lnSpc>
                <a:spcPct val="90000"/>
              </a:lnSpc>
            </a:pPr>
            <a:r>
              <a:rPr lang="en-US" sz="3100" dirty="0"/>
              <a:t>2023 4</a:t>
            </a:r>
            <a:r>
              <a:rPr lang="en-US" sz="3100" baseline="30000" dirty="0"/>
              <a:t>th</a:t>
            </a:r>
            <a:r>
              <a:rPr lang="en-US" sz="3100" dirty="0"/>
              <a:t> Quarter</a:t>
            </a:r>
          </a:p>
        </p:txBody>
      </p:sp>
      <p:pic>
        <p:nvPicPr>
          <p:cNvPr id="6" name="Content Placeholder 5" descr="A police car with lights on&#10;&#10;Description automatically generated">
            <a:extLst>
              <a:ext uri="{FF2B5EF4-FFF2-40B4-BE49-F238E27FC236}">
                <a16:creationId xmlns:a16="http://schemas.microsoft.com/office/drawing/2014/main" id="{D25EB96E-862F-D0E5-2444-922134A9E8AA}"/>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t="1705" b="17968"/>
          <a:stretch/>
        </p:blipFill>
        <p:spPr>
          <a:xfrm>
            <a:off x="20" y="10"/>
            <a:ext cx="9143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9638724B-6469-EE95-44A9-955BD9CBCC2E}"/>
              </a:ext>
            </a:extLst>
          </p:cNvPr>
          <p:cNvSpPr>
            <a:spLocks noGrp="1"/>
          </p:cNvSpPr>
          <p:nvPr>
            <p:ph sz="half" idx="1"/>
          </p:nvPr>
        </p:nvSpPr>
        <p:spPr>
          <a:xfrm>
            <a:off x="3167986" y="3752850"/>
            <a:ext cx="5614060" cy="2452687"/>
          </a:xfrm>
        </p:spPr>
        <p:txBody>
          <a:bodyPr vert="horz" lIns="91440" tIns="45720" rIns="91440" bIns="45720" rtlCol="0" anchor="ctr">
            <a:normAutofit/>
          </a:bodyPr>
          <a:lstStyle/>
          <a:p>
            <a:pPr marL="0" indent="-228600">
              <a:lnSpc>
                <a:spcPct val="90000"/>
              </a:lnSpc>
              <a:spcBef>
                <a:spcPts val="1000"/>
              </a:spcBef>
            </a:pPr>
            <a:r>
              <a:rPr lang="en-US" b="1" dirty="0"/>
              <a:t>11 fatalities from October through December.</a:t>
            </a:r>
          </a:p>
          <a:p>
            <a:pPr marL="400050" lvl="1" indent="-228600">
              <a:lnSpc>
                <a:spcPct val="90000"/>
              </a:lnSpc>
              <a:spcBef>
                <a:spcPts val="1000"/>
              </a:spcBef>
            </a:pPr>
            <a:r>
              <a:rPr lang="en-US" sz="2800" dirty="0"/>
              <a:t>5 Automobile crashes</a:t>
            </a:r>
          </a:p>
          <a:p>
            <a:pPr marL="400050" lvl="1" indent="-228600">
              <a:lnSpc>
                <a:spcPct val="90000"/>
              </a:lnSpc>
              <a:spcBef>
                <a:spcPts val="1000"/>
              </a:spcBef>
            </a:pPr>
            <a:r>
              <a:rPr lang="en-US" sz="2800" dirty="0"/>
              <a:t>4 Struck-by Crashes</a:t>
            </a:r>
          </a:p>
          <a:p>
            <a:pPr marL="400050" lvl="1" indent="-228600">
              <a:lnSpc>
                <a:spcPct val="90000"/>
              </a:lnSpc>
              <a:spcBef>
                <a:spcPts val="1000"/>
              </a:spcBef>
            </a:pPr>
            <a:r>
              <a:rPr lang="en-US" sz="2800" dirty="0"/>
              <a:t>2 Motorcycles crashes</a:t>
            </a:r>
          </a:p>
        </p:txBody>
      </p:sp>
    </p:spTree>
    <p:extLst>
      <p:ext uri="{BB962C8B-B14F-4D97-AF65-F5344CB8AC3E}">
        <p14:creationId xmlns:p14="http://schemas.microsoft.com/office/powerpoint/2010/main" val="706809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9143999"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096642" y="0"/>
            <a:ext cx="3047358"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783777" y="-3783778"/>
            <a:ext cx="1576446" cy="9144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96501F-B3D7-23C8-26A0-B4F0E5794E36}"/>
              </a:ext>
            </a:extLst>
          </p:cNvPr>
          <p:cNvSpPr>
            <a:spLocks noGrp="1"/>
          </p:cNvSpPr>
          <p:nvPr>
            <p:ph type="title"/>
          </p:nvPr>
        </p:nvSpPr>
        <p:spPr>
          <a:xfrm>
            <a:off x="1028697" y="348865"/>
            <a:ext cx="7533018" cy="877729"/>
          </a:xfrm>
        </p:spPr>
        <p:txBody>
          <a:bodyPr vert="horz" lIns="91440" tIns="45720" rIns="91440" bIns="45720" rtlCol="0" anchor="ctr">
            <a:normAutofit/>
          </a:bodyPr>
          <a:lstStyle/>
          <a:p>
            <a:pPr algn="l">
              <a:lnSpc>
                <a:spcPct val="90000"/>
              </a:lnSpc>
            </a:pPr>
            <a:r>
              <a:rPr lang="en-US" sz="3500" kern="1200" dirty="0">
                <a:solidFill>
                  <a:srgbClr val="FFFFFF"/>
                </a:solidFill>
                <a:latin typeface="+mj-lt"/>
                <a:ea typeface="+mj-ea"/>
                <a:cs typeface="+mj-cs"/>
              </a:rPr>
              <a:t>2023 Break out of Crashes</a:t>
            </a:r>
          </a:p>
        </p:txBody>
      </p:sp>
      <p:graphicFrame>
        <p:nvGraphicFramePr>
          <p:cNvPr id="5" name="Content Placeholder 2">
            <a:extLst>
              <a:ext uri="{FF2B5EF4-FFF2-40B4-BE49-F238E27FC236}">
                <a16:creationId xmlns:a16="http://schemas.microsoft.com/office/drawing/2014/main" id="{B6CB7648-461C-2A9C-0125-09AAEBAB3032}"/>
              </a:ext>
            </a:extLst>
          </p:cNvPr>
          <p:cNvGraphicFramePr>
            <a:graphicFrameLocks noGrp="1"/>
          </p:cNvGraphicFramePr>
          <p:nvPr>
            <p:ph idx="1"/>
            <p:extLst>
              <p:ext uri="{D42A27DB-BD31-4B8C-83A1-F6EECF244321}">
                <p14:modId xmlns:p14="http://schemas.microsoft.com/office/powerpoint/2010/main" val="1373639200"/>
              </p:ext>
            </p:extLst>
          </p:nvPr>
        </p:nvGraphicFramePr>
        <p:xfrm>
          <a:off x="381000" y="2133600"/>
          <a:ext cx="8297913" cy="41717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43243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38B40A-931F-9624-A23A-5F57343A8E19}"/>
              </a:ext>
            </a:extLst>
          </p:cNvPr>
          <p:cNvSpPr>
            <a:spLocks noGrp="1"/>
          </p:cNvSpPr>
          <p:nvPr>
            <p:ph type="title"/>
          </p:nvPr>
        </p:nvSpPr>
        <p:spPr>
          <a:xfrm>
            <a:off x="480060" y="325369"/>
            <a:ext cx="3276451" cy="1956841"/>
          </a:xfrm>
        </p:spPr>
        <p:txBody>
          <a:bodyPr vert="horz" lIns="91440" tIns="45720" rIns="91440" bIns="45720" rtlCol="0" anchor="b">
            <a:normAutofit/>
          </a:bodyPr>
          <a:lstStyle/>
          <a:p>
            <a:pPr algn="l">
              <a:lnSpc>
                <a:spcPct val="90000"/>
              </a:lnSpc>
            </a:pPr>
            <a:r>
              <a:rPr lang="en-US" sz="4300" dirty="0"/>
              <a:t>2023 Fatalities by Agency Type</a:t>
            </a:r>
          </a:p>
        </p:txBody>
      </p:sp>
      <p:sp>
        <p:nvSpPr>
          <p:cNvPr id="22"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2586994"/>
            <a:ext cx="2606040" cy="18288"/>
          </a:xfrm>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 name="connsiteX0" fmla="*/ 0 w 2606040"/>
              <a:gd name="connsiteY0" fmla="*/ 0 h 18288"/>
              <a:gd name="connsiteX1" fmla="*/ 599389 w 2606040"/>
              <a:gd name="connsiteY1" fmla="*/ 0 h 18288"/>
              <a:gd name="connsiteX2" fmla="*/ 1303020 w 2606040"/>
              <a:gd name="connsiteY2" fmla="*/ 0 h 18288"/>
              <a:gd name="connsiteX3" fmla="*/ 1876349 w 2606040"/>
              <a:gd name="connsiteY3" fmla="*/ 0 h 18288"/>
              <a:gd name="connsiteX4" fmla="*/ 2606040 w 2606040"/>
              <a:gd name="connsiteY4" fmla="*/ 0 h 18288"/>
              <a:gd name="connsiteX5" fmla="*/ 2606040 w 2606040"/>
              <a:gd name="connsiteY5" fmla="*/ 18288 h 18288"/>
              <a:gd name="connsiteX6" fmla="*/ 1980590 w 2606040"/>
              <a:gd name="connsiteY6" fmla="*/ 18288 h 18288"/>
              <a:gd name="connsiteX7" fmla="*/ 1276960 w 2606040"/>
              <a:gd name="connsiteY7" fmla="*/ 18288 h 18288"/>
              <a:gd name="connsiteX8" fmla="*/ 65151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6645" y="4461"/>
                  <a:pt x="2607031" y="13181"/>
                  <a:pt x="2606040" y="18288"/>
                </a:cubicBezTo>
                <a:cubicBezTo>
                  <a:pt x="2260204" y="29342"/>
                  <a:pt x="2175708" y="5614"/>
                  <a:pt x="1902409" y="18288"/>
                </a:cubicBezTo>
                <a:cubicBezTo>
                  <a:pt x="1638502" y="41064"/>
                  <a:pt x="1460923" y="-16269"/>
                  <a:pt x="1276960" y="18288"/>
                </a:cubicBezTo>
                <a:cubicBezTo>
                  <a:pt x="1057717" y="14361"/>
                  <a:pt x="867956" y="2320"/>
                  <a:pt x="677570" y="18288"/>
                </a:cubicBezTo>
                <a:cubicBezTo>
                  <a:pt x="457951" y="33373"/>
                  <a:pt x="189752" y="55388"/>
                  <a:pt x="0" y="18288"/>
                </a:cubicBezTo>
                <a:cubicBezTo>
                  <a:pt x="1586" y="13022"/>
                  <a:pt x="-95" y="4569"/>
                  <a:pt x="0" y="0"/>
                </a:cubicBezTo>
                <a:close/>
              </a:path>
              <a:path w="2606040" h="18288"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6314" y="8448"/>
                  <a:pt x="2606550" y="14527"/>
                  <a:pt x="2606040" y="18288"/>
                </a:cubicBezTo>
                <a:cubicBezTo>
                  <a:pt x="2344840" y="2643"/>
                  <a:pt x="2192043" y="7399"/>
                  <a:pt x="1980590" y="18288"/>
                </a:cubicBezTo>
                <a:cubicBezTo>
                  <a:pt x="1783984" y="-9745"/>
                  <a:pt x="1487673" y="45908"/>
                  <a:pt x="1276960" y="18288"/>
                </a:cubicBezTo>
                <a:cubicBezTo>
                  <a:pt x="1088134" y="-41257"/>
                  <a:pt x="877974" y="49968"/>
                  <a:pt x="651510" y="18288"/>
                </a:cubicBezTo>
                <a:cubicBezTo>
                  <a:pt x="430798" y="-27764"/>
                  <a:pt x="132889" y="-33467"/>
                  <a:pt x="0" y="18288"/>
                </a:cubicBezTo>
                <a:cubicBezTo>
                  <a:pt x="212" y="10845"/>
                  <a:pt x="-833" y="6193"/>
                  <a:pt x="0" y="0"/>
                </a:cubicBezTo>
                <a:close/>
              </a:path>
              <a:path w="2606040" h="18288"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6166" y="3680"/>
                  <a:pt x="2606905" y="11461"/>
                  <a:pt x="2606040" y="18288"/>
                </a:cubicBezTo>
                <a:cubicBezTo>
                  <a:pt x="2234648" y="26976"/>
                  <a:pt x="2180202" y="-10361"/>
                  <a:pt x="1902409" y="18288"/>
                </a:cubicBezTo>
                <a:cubicBezTo>
                  <a:pt x="1635562" y="47194"/>
                  <a:pt x="1477339" y="4794"/>
                  <a:pt x="1276960" y="18288"/>
                </a:cubicBezTo>
                <a:cubicBezTo>
                  <a:pt x="1058094" y="66922"/>
                  <a:pt x="904206" y="-20636"/>
                  <a:pt x="677570" y="18288"/>
                </a:cubicBezTo>
                <a:cubicBezTo>
                  <a:pt x="485746" y="14713"/>
                  <a:pt x="195925" y="33005"/>
                  <a:pt x="0" y="18288"/>
                </a:cubicBezTo>
                <a:cubicBezTo>
                  <a:pt x="1168" y="12774"/>
                  <a:pt x="-229" y="374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462" y="4771"/>
                          <a:pt x="2606793" y="12323"/>
                          <a:pt x="2606040" y="18288"/>
                        </a:cubicBezTo>
                        <a:cubicBezTo>
                          <a:pt x="2256758" y="31410"/>
                          <a:pt x="2173673" y="-12878"/>
                          <a:pt x="1902409" y="18288"/>
                        </a:cubicBezTo>
                        <a:cubicBezTo>
                          <a:pt x="1631145" y="49454"/>
                          <a:pt x="1461378" y="5466"/>
                          <a:pt x="1276960" y="18288"/>
                        </a:cubicBezTo>
                        <a:cubicBezTo>
                          <a:pt x="1092542" y="31110"/>
                          <a:pt x="890442" y="13213"/>
                          <a:pt x="677570" y="18288"/>
                        </a:cubicBezTo>
                        <a:cubicBezTo>
                          <a:pt x="464698" y="23364"/>
                          <a:pt x="187648" y="35837"/>
                          <a:pt x="0" y="18288"/>
                        </a:cubicBezTo>
                        <a:cubicBezTo>
                          <a:pt x="841" y="12879"/>
                          <a:pt x="-726" y="3977"/>
                          <a:pt x="0" y="0"/>
                        </a:cubicBezTo>
                        <a:close/>
                      </a:path>
                      <a:path w="2606040" h="18288"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5426" y="8857"/>
                          <a:pt x="2606544" y="13619"/>
                          <a:pt x="2606040" y="18288"/>
                        </a:cubicBezTo>
                        <a:cubicBezTo>
                          <a:pt x="2393024" y="2241"/>
                          <a:pt x="2191161" y="39259"/>
                          <a:pt x="1980590" y="18288"/>
                        </a:cubicBezTo>
                        <a:cubicBezTo>
                          <a:pt x="1770019" y="-2683"/>
                          <a:pt x="1476440" y="36114"/>
                          <a:pt x="1276960" y="18288"/>
                        </a:cubicBezTo>
                        <a:cubicBezTo>
                          <a:pt x="1077480" y="463"/>
                          <a:pt x="880988" y="42125"/>
                          <a:pt x="651510" y="18288"/>
                        </a:cubicBezTo>
                        <a:cubicBezTo>
                          <a:pt x="422032" y="-5549"/>
                          <a:pt x="130744" y="-1947"/>
                          <a:pt x="0" y="18288"/>
                        </a:cubicBezTo>
                        <a:cubicBezTo>
                          <a:pt x="-487" y="10816"/>
                          <a:pt x="-839" y="6058"/>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D6D2A28-2057-41B0-AF88-4BA8F77FD572}"/>
              </a:ext>
            </a:extLst>
          </p:cNvPr>
          <p:cNvSpPr>
            <a:spLocks noGrp="1"/>
          </p:cNvSpPr>
          <p:nvPr>
            <p:ph sz="half" idx="1"/>
          </p:nvPr>
        </p:nvSpPr>
        <p:spPr>
          <a:xfrm>
            <a:off x="480060" y="2872899"/>
            <a:ext cx="3182691" cy="3320668"/>
          </a:xfrm>
        </p:spPr>
        <p:txBody>
          <a:bodyPr vert="horz" lIns="91440" tIns="45720" rIns="91440" bIns="45720" rtlCol="0">
            <a:normAutofit/>
          </a:bodyPr>
          <a:lstStyle/>
          <a:p>
            <a:pPr indent="-228600">
              <a:lnSpc>
                <a:spcPct val="90000"/>
              </a:lnSpc>
            </a:pPr>
            <a:r>
              <a:rPr lang="en-US" dirty="0"/>
              <a:t>Municipal=16</a:t>
            </a:r>
          </a:p>
          <a:p>
            <a:pPr indent="-228600">
              <a:lnSpc>
                <a:spcPct val="90000"/>
              </a:lnSpc>
            </a:pPr>
            <a:r>
              <a:rPr lang="en-US" dirty="0"/>
              <a:t>Sheriffs=12</a:t>
            </a:r>
          </a:p>
          <a:p>
            <a:pPr indent="-228600">
              <a:lnSpc>
                <a:spcPct val="90000"/>
              </a:lnSpc>
            </a:pPr>
            <a:r>
              <a:rPr lang="en-US" dirty="0"/>
              <a:t>State=7</a:t>
            </a:r>
          </a:p>
          <a:p>
            <a:pPr indent="-228600">
              <a:lnSpc>
                <a:spcPct val="90000"/>
              </a:lnSpc>
            </a:pPr>
            <a:r>
              <a:rPr lang="en-US" dirty="0"/>
              <a:t>Federal=1</a:t>
            </a:r>
          </a:p>
          <a:p>
            <a:pPr indent="-228600">
              <a:lnSpc>
                <a:spcPct val="90000"/>
              </a:lnSpc>
            </a:pPr>
            <a:r>
              <a:rPr lang="en-US" dirty="0"/>
              <a:t>Tribal=1</a:t>
            </a:r>
          </a:p>
        </p:txBody>
      </p:sp>
      <p:pic>
        <p:nvPicPr>
          <p:cNvPr id="10" name="Content Placeholder 9" descr="A group of police officers walking&#10;&#10;Description automatically generated">
            <a:extLst>
              <a:ext uri="{FF2B5EF4-FFF2-40B4-BE49-F238E27FC236}">
                <a16:creationId xmlns:a16="http://schemas.microsoft.com/office/drawing/2014/main" id="{D153F9E7-C98A-91B1-D6BC-4C4265ABE002}"/>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7096" r="21562" b="1"/>
          <a:stretch/>
        </p:blipFill>
        <p:spPr>
          <a:xfrm>
            <a:off x="3983776" y="10"/>
            <a:ext cx="5159081"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325685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2A9E8A-77A0-9841-62AA-BB2AF03DBC05}"/>
              </a:ext>
            </a:extLst>
          </p:cNvPr>
          <p:cNvSpPr>
            <a:spLocks noGrp="1"/>
          </p:cNvSpPr>
          <p:nvPr>
            <p:ph type="title"/>
          </p:nvPr>
        </p:nvSpPr>
        <p:spPr>
          <a:xfrm>
            <a:off x="480060" y="325369"/>
            <a:ext cx="3276451" cy="1956841"/>
          </a:xfrm>
        </p:spPr>
        <p:txBody>
          <a:bodyPr vert="horz" lIns="91440" tIns="45720" rIns="91440" bIns="45720" rtlCol="0" anchor="b">
            <a:normAutofit/>
          </a:bodyPr>
          <a:lstStyle/>
          <a:p>
            <a:pPr algn="l">
              <a:lnSpc>
                <a:spcPct val="90000"/>
              </a:lnSpc>
            </a:pPr>
            <a:r>
              <a:rPr lang="en-US" sz="4300" dirty="0"/>
              <a:t>2023 Automobile Crashes</a:t>
            </a:r>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2586994"/>
            <a:ext cx="2606040" cy="18288"/>
          </a:xfrm>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 name="connsiteX0" fmla="*/ 0 w 2606040"/>
              <a:gd name="connsiteY0" fmla="*/ 0 h 18288"/>
              <a:gd name="connsiteX1" fmla="*/ 599389 w 2606040"/>
              <a:gd name="connsiteY1" fmla="*/ 0 h 18288"/>
              <a:gd name="connsiteX2" fmla="*/ 1303020 w 2606040"/>
              <a:gd name="connsiteY2" fmla="*/ 0 h 18288"/>
              <a:gd name="connsiteX3" fmla="*/ 1876349 w 2606040"/>
              <a:gd name="connsiteY3" fmla="*/ 0 h 18288"/>
              <a:gd name="connsiteX4" fmla="*/ 2606040 w 2606040"/>
              <a:gd name="connsiteY4" fmla="*/ 0 h 18288"/>
              <a:gd name="connsiteX5" fmla="*/ 2606040 w 2606040"/>
              <a:gd name="connsiteY5" fmla="*/ 18288 h 18288"/>
              <a:gd name="connsiteX6" fmla="*/ 1980590 w 2606040"/>
              <a:gd name="connsiteY6" fmla="*/ 18288 h 18288"/>
              <a:gd name="connsiteX7" fmla="*/ 1276960 w 2606040"/>
              <a:gd name="connsiteY7" fmla="*/ 18288 h 18288"/>
              <a:gd name="connsiteX8" fmla="*/ 65151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6645" y="4461"/>
                  <a:pt x="2607031" y="13181"/>
                  <a:pt x="2606040" y="18288"/>
                </a:cubicBezTo>
                <a:cubicBezTo>
                  <a:pt x="2260204" y="29342"/>
                  <a:pt x="2175708" y="5614"/>
                  <a:pt x="1902409" y="18288"/>
                </a:cubicBezTo>
                <a:cubicBezTo>
                  <a:pt x="1638502" y="41064"/>
                  <a:pt x="1460923" y="-16269"/>
                  <a:pt x="1276960" y="18288"/>
                </a:cubicBezTo>
                <a:cubicBezTo>
                  <a:pt x="1057717" y="14361"/>
                  <a:pt x="867956" y="2320"/>
                  <a:pt x="677570" y="18288"/>
                </a:cubicBezTo>
                <a:cubicBezTo>
                  <a:pt x="457951" y="33373"/>
                  <a:pt x="189752" y="55388"/>
                  <a:pt x="0" y="18288"/>
                </a:cubicBezTo>
                <a:cubicBezTo>
                  <a:pt x="1586" y="13022"/>
                  <a:pt x="-95" y="4569"/>
                  <a:pt x="0" y="0"/>
                </a:cubicBezTo>
                <a:close/>
              </a:path>
              <a:path w="2606040" h="18288"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6314" y="8448"/>
                  <a:pt x="2606550" y="14527"/>
                  <a:pt x="2606040" y="18288"/>
                </a:cubicBezTo>
                <a:cubicBezTo>
                  <a:pt x="2344840" y="2643"/>
                  <a:pt x="2192043" y="7399"/>
                  <a:pt x="1980590" y="18288"/>
                </a:cubicBezTo>
                <a:cubicBezTo>
                  <a:pt x="1783984" y="-9745"/>
                  <a:pt x="1487673" y="45908"/>
                  <a:pt x="1276960" y="18288"/>
                </a:cubicBezTo>
                <a:cubicBezTo>
                  <a:pt x="1088134" y="-41257"/>
                  <a:pt x="877974" y="49968"/>
                  <a:pt x="651510" y="18288"/>
                </a:cubicBezTo>
                <a:cubicBezTo>
                  <a:pt x="430798" y="-27764"/>
                  <a:pt x="132889" y="-33467"/>
                  <a:pt x="0" y="18288"/>
                </a:cubicBezTo>
                <a:cubicBezTo>
                  <a:pt x="212" y="10845"/>
                  <a:pt x="-833" y="6193"/>
                  <a:pt x="0" y="0"/>
                </a:cubicBezTo>
                <a:close/>
              </a:path>
              <a:path w="2606040" h="18288"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6166" y="3680"/>
                  <a:pt x="2606905" y="11461"/>
                  <a:pt x="2606040" y="18288"/>
                </a:cubicBezTo>
                <a:cubicBezTo>
                  <a:pt x="2234648" y="26976"/>
                  <a:pt x="2180202" y="-10361"/>
                  <a:pt x="1902409" y="18288"/>
                </a:cubicBezTo>
                <a:cubicBezTo>
                  <a:pt x="1635562" y="47194"/>
                  <a:pt x="1477339" y="4794"/>
                  <a:pt x="1276960" y="18288"/>
                </a:cubicBezTo>
                <a:cubicBezTo>
                  <a:pt x="1058094" y="66922"/>
                  <a:pt x="904206" y="-20636"/>
                  <a:pt x="677570" y="18288"/>
                </a:cubicBezTo>
                <a:cubicBezTo>
                  <a:pt x="485746" y="14713"/>
                  <a:pt x="195925" y="33005"/>
                  <a:pt x="0" y="18288"/>
                </a:cubicBezTo>
                <a:cubicBezTo>
                  <a:pt x="1168" y="12774"/>
                  <a:pt x="-229" y="374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462" y="4771"/>
                          <a:pt x="2606793" y="12323"/>
                          <a:pt x="2606040" y="18288"/>
                        </a:cubicBezTo>
                        <a:cubicBezTo>
                          <a:pt x="2256758" y="31410"/>
                          <a:pt x="2173673" y="-12878"/>
                          <a:pt x="1902409" y="18288"/>
                        </a:cubicBezTo>
                        <a:cubicBezTo>
                          <a:pt x="1631145" y="49454"/>
                          <a:pt x="1461378" y="5466"/>
                          <a:pt x="1276960" y="18288"/>
                        </a:cubicBezTo>
                        <a:cubicBezTo>
                          <a:pt x="1092542" y="31110"/>
                          <a:pt x="890442" y="13213"/>
                          <a:pt x="677570" y="18288"/>
                        </a:cubicBezTo>
                        <a:cubicBezTo>
                          <a:pt x="464698" y="23364"/>
                          <a:pt x="187648" y="35837"/>
                          <a:pt x="0" y="18288"/>
                        </a:cubicBezTo>
                        <a:cubicBezTo>
                          <a:pt x="841" y="12879"/>
                          <a:pt x="-726" y="3977"/>
                          <a:pt x="0" y="0"/>
                        </a:cubicBezTo>
                        <a:close/>
                      </a:path>
                      <a:path w="2606040" h="18288"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5426" y="8857"/>
                          <a:pt x="2606544" y="13619"/>
                          <a:pt x="2606040" y="18288"/>
                        </a:cubicBezTo>
                        <a:cubicBezTo>
                          <a:pt x="2393024" y="2241"/>
                          <a:pt x="2191161" y="39259"/>
                          <a:pt x="1980590" y="18288"/>
                        </a:cubicBezTo>
                        <a:cubicBezTo>
                          <a:pt x="1770019" y="-2683"/>
                          <a:pt x="1476440" y="36114"/>
                          <a:pt x="1276960" y="18288"/>
                        </a:cubicBezTo>
                        <a:cubicBezTo>
                          <a:pt x="1077480" y="463"/>
                          <a:pt x="880988" y="42125"/>
                          <a:pt x="651510" y="18288"/>
                        </a:cubicBezTo>
                        <a:cubicBezTo>
                          <a:pt x="422032" y="-5549"/>
                          <a:pt x="130744" y="-1947"/>
                          <a:pt x="0" y="18288"/>
                        </a:cubicBezTo>
                        <a:cubicBezTo>
                          <a:pt x="-487" y="10816"/>
                          <a:pt x="-839" y="6058"/>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A4DFDEE-1F97-9A02-94F4-52528E4CDD64}"/>
              </a:ext>
            </a:extLst>
          </p:cNvPr>
          <p:cNvSpPr>
            <a:spLocks noGrp="1"/>
          </p:cNvSpPr>
          <p:nvPr>
            <p:ph sz="half" idx="1"/>
          </p:nvPr>
        </p:nvSpPr>
        <p:spPr>
          <a:xfrm>
            <a:off x="76200" y="2928354"/>
            <a:ext cx="3680311" cy="3604277"/>
          </a:xfrm>
        </p:spPr>
        <p:txBody>
          <a:bodyPr vert="horz" lIns="91440" tIns="45720" rIns="91440" bIns="45720" rtlCol="0">
            <a:normAutofit/>
          </a:bodyPr>
          <a:lstStyle/>
          <a:p>
            <a:pPr indent="-228600">
              <a:lnSpc>
                <a:spcPct val="90000"/>
              </a:lnSpc>
            </a:pPr>
            <a:r>
              <a:rPr lang="en-US" sz="2400" dirty="0"/>
              <a:t>Circumstances</a:t>
            </a:r>
          </a:p>
          <a:p>
            <a:pPr lvl="1" indent="-228600">
              <a:lnSpc>
                <a:spcPct val="90000"/>
              </a:lnSpc>
              <a:buFont typeface="Arial" panose="020B0604020202020204" pitchFamily="34" charset="0"/>
              <a:buChar char="•"/>
            </a:pPr>
            <a:r>
              <a:rPr lang="en-US" dirty="0"/>
              <a:t>Responding to Back-up=5</a:t>
            </a:r>
          </a:p>
          <a:p>
            <a:pPr lvl="1" indent="-228600">
              <a:lnSpc>
                <a:spcPct val="90000"/>
              </a:lnSpc>
              <a:buFont typeface="Arial" panose="020B0604020202020204" pitchFamily="34" charset="0"/>
              <a:buChar char="•"/>
            </a:pPr>
            <a:r>
              <a:rPr lang="en-US" dirty="0"/>
              <a:t>Responding to call=4</a:t>
            </a:r>
          </a:p>
          <a:p>
            <a:pPr lvl="1" indent="-228600">
              <a:lnSpc>
                <a:spcPct val="90000"/>
              </a:lnSpc>
              <a:buFont typeface="Arial" panose="020B0604020202020204" pitchFamily="34" charset="0"/>
              <a:buChar char="•"/>
            </a:pPr>
            <a:r>
              <a:rPr lang="en-US" dirty="0"/>
              <a:t>On patrol=3</a:t>
            </a:r>
          </a:p>
          <a:p>
            <a:pPr lvl="1" indent="-228600">
              <a:lnSpc>
                <a:spcPct val="90000"/>
              </a:lnSpc>
              <a:buFont typeface="Arial" panose="020B0604020202020204" pitchFamily="34" charset="0"/>
              <a:buChar char="•"/>
            </a:pPr>
            <a:r>
              <a:rPr lang="en-US" dirty="0"/>
              <a:t>Admin/Take home=5</a:t>
            </a:r>
          </a:p>
          <a:p>
            <a:pPr lvl="1" indent="-228600">
              <a:lnSpc>
                <a:spcPct val="90000"/>
              </a:lnSpc>
              <a:buFont typeface="Arial" panose="020B0604020202020204" pitchFamily="34" charset="0"/>
              <a:buChar char="•"/>
            </a:pPr>
            <a:r>
              <a:rPr lang="en-US" dirty="0"/>
              <a:t>Escort=1</a:t>
            </a:r>
          </a:p>
          <a:p>
            <a:pPr lvl="1" indent="-228600">
              <a:lnSpc>
                <a:spcPct val="90000"/>
              </a:lnSpc>
              <a:buFont typeface="Arial" panose="020B0604020202020204" pitchFamily="34" charset="0"/>
              <a:buChar char="•"/>
            </a:pPr>
            <a:r>
              <a:rPr lang="en-US" dirty="0"/>
              <a:t>Pursuit=1</a:t>
            </a:r>
          </a:p>
        </p:txBody>
      </p:sp>
      <p:pic>
        <p:nvPicPr>
          <p:cNvPr id="8" name="Content Placeholder 7" descr="A police car driving down a road at night&#10;&#10;Description automatically generated">
            <a:extLst>
              <a:ext uri="{FF2B5EF4-FFF2-40B4-BE49-F238E27FC236}">
                <a16:creationId xmlns:a16="http://schemas.microsoft.com/office/drawing/2014/main" id="{84DABD87-44A5-0904-A6CE-3ADBCE5C83BD}"/>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26797" r="16782"/>
          <a:stretch/>
        </p:blipFill>
        <p:spPr>
          <a:xfrm>
            <a:off x="3983776" y="10"/>
            <a:ext cx="5159081"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4230208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1.62900000000000000000E+000&quot;&gt;&lt;m_msothmcolidx val=&quot;0&quot;/&gt;&lt;m_rgb r=&quot;f3&quot; g=&quot;8b&quot; b=&quot;18&quot;/&gt;&lt;m_ppcolschidx tagver0=&quot;23004&quot; tagname0=&quot;m_ppcolschidxUNRECOGNIZED&quot; val=&quot;0&quot;/&gt;&lt;m_nBrightness val=&quot;0&quot;/&gt;&lt;/elem&gt;&lt;elem m_fUsage=&quot;1.00000000000000000000E+000&quot;&gt;&lt;m_msothmcolidx val=&quot;0&quot;/&gt;&lt;m_rgb r=&quot;54&quot; g=&quot;da&quot; b=&quot;32&quot;/&gt;&lt;m_ppcolschidx tagver0=&quot;23004&quot; tagname0=&quot;m_ppcolschidxUNRECOGNIZED&quot; val=&quot;0&quot;/&gt;&lt;m_nBrightness val=&quot;0&quot;/&gt;&lt;/elem&gt;&lt;elem m_fUsage=&quot;8.10000000000000050000E-001&quot;&gt;&lt;m_msothmcolidx val=&quot;0&quot;/&gt;&lt;m_rgb r=&quot;36&quot; g=&quot;d6&quot; b=&quot;3a&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Wzi2BjBZkaZ2MjQZmYl7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465</TotalTime>
  <Words>1438</Words>
  <Application>Microsoft Office PowerPoint</Application>
  <PresentationFormat>On-screen Show (4:3)</PresentationFormat>
  <Paragraphs>175</Paragraphs>
  <Slides>26</Slides>
  <Notes>2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2" baseType="lpstr">
      <vt:lpstr>Arial</vt:lpstr>
      <vt:lpstr>Calibri</vt:lpstr>
      <vt:lpstr>Georgia</vt:lpstr>
      <vt:lpstr>Wingdings</vt:lpstr>
      <vt:lpstr>Office Theme</vt:lpstr>
      <vt:lpstr>think-cell Slide</vt:lpstr>
      <vt:lpstr>Work Plan Presentation         Fourth Quarter and End of Year Report for 2023         </vt:lpstr>
      <vt:lpstr>The Year in Review</vt:lpstr>
      <vt:lpstr>End of Year Report</vt:lpstr>
      <vt:lpstr>Report on Tire Deflation Devices</vt:lpstr>
      <vt:lpstr>Law Enforcement Officer Fatalities: 2022 vs 2023 (2023 figures based on preliminary reports)</vt:lpstr>
      <vt:lpstr>2023 4th Quarter</vt:lpstr>
      <vt:lpstr>2023 Break out of Crashes</vt:lpstr>
      <vt:lpstr>2023 Fatalities by Agency Type</vt:lpstr>
      <vt:lpstr>2023 Automobile Crashes</vt:lpstr>
      <vt:lpstr>Automobile Crashes </vt:lpstr>
      <vt:lpstr>2023 Auto Crash Types</vt:lpstr>
      <vt:lpstr>2023 Seatbelt Analysis</vt:lpstr>
      <vt:lpstr>2023 Motorcycle Crashes</vt:lpstr>
      <vt:lpstr>2023 Struck-by Crashes</vt:lpstr>
      <vt:lpstr>Five year look at Struck-by Crashes</vt:lpstr>
      <vt:lpstr> First Responder, Towing and Recovery Struck-by Data for 2023</vt:lpstr>
      <vt:lpstr>D-Drivers and SDMO</vt:lpstr>
      <vt:lpstr>Tire Deflation Devices 2023</vt:lpstr>
      <vt:lpstr>Ten Year Analysis of Cases</vt:lpstr>
      <vt:lpstr>Tire Deflation Devices</vt:lpstr>
      <vt:lpstr>TDD Analysis</vt:lpstr>
      <vt:lpstr>Recommendations</vt:lpstr>
      <vt:lpstr>Key Topics in Traffic Safety</vt:lpstr>
      <vt:lpstr>NHTSA Regions</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 Plan Presentation     Law Enforcement Traffic Fatality Data &amp; A Look at Texas Traffic Safety</dc:title>
  <dc:creator>Nick Breul</dc:creator>
  <cp:lastModifiedBy>Nick Breul</cp:lastModifiedBy>
  <cp:revision>51</cp:revision>
  <dcterms:created xsi:type="dcterms:W3CDTF">2020-12-10T18:08:53Z</dcterms:created>
  <dcterms:modified xsi:type="dcterms:W3CDTF">2024-01-27T15:42:12Z</dcterms:modified>
</cp:coreProperties>
</file>